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06" r:id="rId2"/>
    <p:sldMasterId id="2147483728" r:id="rId3"/>
  </p:sldMasterIdLst>
  <p:notesMasterIdLst>
    <p:notesMasterId r:id="rId20"/>
  </p:notesMasterIdLst>
  <p:sldIdLst>
    <p:sldId id="257" r:id="rId4"/>
    <p:sldId id="18532" r:id="rId5"/>
    <p:sldId id="18518" r:id="rId6"/>
    <p:sldId id="18530" r:id="rId7"/>
    <p:sldId id="18519" r:id="rId8"/>
    <p:sldId id="18529" r:id="rId9"/>
    <p:sldId id="18531" r:id="rId10"/>
    <p:sldId id="256" r:id="rId11"/>
    <p:sldId id="18536" r:id="rId12"/>
    <p:sldId id="258" r:id="rId13"/>
    <p:sldId id="260" r:id="rId14"/>
    <p:sldId id="259" r:id="rId15"/>
    <p:sldId id="263" r:id="rId16"/>
    <p:sldId id="262" r:id="rId17"/>
    <p:sldId id="18535" r:id="rId18"/>
    <p:sldId id="18533" r:id="rId19"/>
  </p:sldIdLst>
  <p:sldSz cx="12192000" cy="6858000"/>
  <p:notesSz cx="6858000" cy="91440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316" autoAdjust="0"/>
    <p:restoredTop sz="89486" autoAdjust="0"/>
  </p:normalViewPr>
  <p:slideViewPr>
    <p:cSldViewPr snapToGrid="0">
      <p:cViewPr varScale="1">
        <p:scale>
          <a:sx n="67" d="100"/>
          <a:sy n="67" d="100"/>
        </p:scale>
        <p:origin x="668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2B5ADE-18A6-4C35-A878-CC5EF4C90D89}" type="datetimeFigureOut">
              <a:rPr lang="nb-NO" smtClean="0"/>
              <a:t>07.05.2021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20A020-989F-4377-9602-351F83876E8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981331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887513-A493-4757-AFD3-FB221926CCCB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20700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endParaRPr lang="nb-NO" sz="1200" b="1" dirty="0"/>
          </a:p>
          <a:p>
            <a:pPr marL="0" indent="0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nb-NO" sz="1200" b="1" dirty="0"/>
              <a:t>Coop har alltid vært sterke på norsk, og vi vil fortsette dette fokuset 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nb-NO" sz="1200" dirty="0"/>
              <a:t>Coop tok stort ansvar i plommesesongen 2019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nb-NO" sz="1200" dirty="0"/>
              <a:t>Julen 2019 kunne alle </a:t>
            </a:r>
            <a:r>
              <a:rPr lang="nb-NO" sz="1200" dirty="0" err="1"/>
              <a:t>Coop’s</a:t>
            </a:r>
            <a:r>
              <a:rPr lang="nb-NO" sz="1200" dirty="0"/>
              <a:t> butikker tilby forbrukerne norske epler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nb-NO" sz="1200" dirty="0"/>
              <a:t>Ytterligere forsterket fokus på norsk i 2020 (Prix)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nb-NO" sz="1200" dirty="0"/>
              <a:t>Styrket engasjement og motivasjon for salg av norske varer i Coop 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nb-NO" sz="1200" dirty="0"/>
              <a:t>Økt fokus på bonden / opprinnelse</a:t>
            </a:r>
          </a:p>
          <a:p>
            <a:pPr marL="342900" indent="-342900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nb-NO" sz="1200" dirty="0"/>
              <a:t>Tydeligere opprinnelse på pakninger og økt bruk av materiell i butikk for å gjøre det lettere for forbruker å velge</a:t>
            </a: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C7F498-C16E-324C-A393-42C31A5E415F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845670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sz="1200" b="0" dirty="0"/>
              <a:t>Vi må alltid ha varer tilgjengelig for kunde uavhengig av opprinnelse – og da er det vår jobb i Coop å kjøpe inn varer uavhengig opprinnelse til å dekke kundens behov, og også bli en lojal kunde.</a:t>
            </a:r>
          </a:p>
          <a:p>
            <a:endParaRPr lang="nb-NO" sz="1200" b="0" dirty="0"/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C7F498-C16E-324C-A393-42C31A5E415F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0071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C1CF6D-F151-4C26-933B-A10400F8C40E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36452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b="0" i="0" u="none" strike="noStrike" dirty="0">
                <a:solidFill>
                  <a:srgbClr val="666666"/>
                </a:solidFill>
                <a:effectLst/>
                <a:latin typeface="Arial" panose="020B0604020202020204" pitchFamily="34" charset="0"/>
              </a:rPr>
              <a:t>Og skal kunde få den gode opplevelsen i butikk, så er vi helt avhengige av en god KOMMUNIKASJON og FORUTSIGBARHET. Vi må spille hverandre gode- da er da vi får en vellykket gjennomføring fra jord til bord!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C7F498-C16E-324C-A393-42C31A5E415F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94534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sz="1200" b="0" dirty="0"/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BC7F498-C16E-324C-A393-42C31A5E415F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002283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5.tiff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tiff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5" Type="http://schemas.openxmlformats.org/officeDocument/2006/relationships/image" Target="../media/image5.tiff"/><Relationship Id="rId4" Type="http://schemas.openxmlformats.org/officeDocument/2006/relationships/image" Target="../media/image4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3.tiff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5" Type="http://schemas.openxmlformats.org/officeDocument/2006/relationships/image" Target="../media/image3.tiff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5" Type="http://schemas.openxmlformats.org/officeDocument/2006/relationships/image" Target="../media/image3.tiff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3.tiff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3.tiff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2.png"/><Relationship Id="rId4" Type="http://schemas.openxmlformats.org/officeDocument/2006/relationships/image" Target="../media/image6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2.png"/><Relationship Id="rId4" Type="http://schemas.openxmlformats.org/officeDocument/2006/relationships/image" Target="../media/image6.emf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ktangel 12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>
              <a:solidFill>
                <a:schemeClr val="bg1"/>
              </a:solidFill>
            </a:endParaRPr>
          </a:p>
        </p:txBody>
      </p:sp>
      <p:sp>
        <p:nvSpPr>
          <p:cNvPr id="11" name="Rektangel 1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>
              <a:solidFill>
                <a:schemeClr val="bg1"/>
              </a:solidFill>
            </a:endParaRPr>
          </a:p>
        </p:txBody>
      </p:sp>
      <p:sp>
        <p:nvSpPr>
          <p:cNvPr id="7" name="Rektangel 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11AD42-ED7A-4C6E-8347-826D2249171C}" type="datetimeFigureOut">
              <a:rPr lang="nb-NO" smtClean="0"/>
              <a:t>07.05.2021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82B9B1-E5CC-4162-9683-1B7647BECBD6}" type="slidenum">
              <a:rPr lang="nb-NO" smtClean="0"/>
              <a:t>‹#›</a:t>
            </a:fld>
            <a:endParaRPr lang="nb-NO"/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8400" y="219600"/>
            <a:ext cx="1353600" cy="3852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8359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B - with ima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674748-8D86-234F-B56F-31E4FDACBC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3366"/>
                </a:solidFill>
              </a:defRPr>
            </a:lvl1pPr>
          </a:lstStyle>
          <a:p>
            <a:fld id="{5EEB9F79-FBEC-F94E-9E8F-DEDC777817E6}" type="datetime1">
              <a:rPr lang="nb-NO" smtClean="0"/>
              <a:t>07.05.2021</a:t>
            </a:fld>
            <a:endParaRPr lang="nb-NO" dirty="0"/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id="{63D21C51-D411-7E4B-9339-FF7F4B9ABBA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13810" y="6392441"/>
            <a:ext cx="1029182" cy="292941"/>
          </a:xfrm>
          <a:prstGeom prst="rect">
            <a:avLst/>
          </a:prstGeom>
        </p:spPr>
      </p:pic>
      <p:sp>
        <p:nvSpPr>
          <p:cNvPr id="5" name="Rektangel 4">
            <a:extLst>
              <a:ext uri="{FF2B5EF4-FFF2-40B4-BE49-F238E27FC236}">
                <a16:creationId xmlns:a16="http://schemas.microsoft.com/office/drawing/2014/main" id="{AAD757FE-D7BD-6B48-9494-2F8015E1E5F9}"/>
              </a:ext>
            </a:extLst>
          </p:cNvPr>
          <p:cNvSpPr/>
          <p:nvPr userDrawn="1"/>
        </p:nvSpPr>
        <p:spPr>
          <a:xfrm>
            <a:off x="0" y="0"/>
            <a:ext cx="7637254" cy="3851364"/>
          </a:xfrm>
          <a:custGeom>
            <a:avLst/>
            <a:gdLst>
              <a:gd name="connsiteX0" fmla="*/ 0 w 7637254"/>
              <a:gd name="connsiteY0" fmla="*/ 0 h 3835879"/>
              <a:gd name="connsiteX1" fmla="*/ 7637254 w 7637254"/>
              <a:gd name="connsiteY1" fmla="*/ 0 h 3835879"/>
              <a:gd name="connsiteX2" fmla="*/ 7637254 w 7637254"/>
              <a:gd name="connsiteY2" fmla="*/ 3835879 h 3835879"/>
              <a:gd name="connsiteX3" fmla="*/ 0 w 7637254"/>
              <a:gd name="connsiteY3" fmla="*/ 3835879 h 3835879"/>
              <a:gd name="connsiteX4" fmla="*/ 0 w 7637254"/>
              <a:gd name="connsiteY4" fmla="*/ 0 h 3835879"/>
              <a:gd name="connsiteX0" fmla="*/ 0 w 7637254"/>
              <a:gd name="connsiteY0" fmla="*/ 0 h 3835879"/>
              <a:gd name="connsiteX1" fmla="*/ 7637254 w 7637254"/>
              <a:gd name="connsiteY1" fmla="*/ 0 h 3835879"/>
              <a:gd name="connsiteX2" fmla="*/ 3186024 w 7637254"/>
              <a:gd name="connsiteY2" fmla="*/ 3111260 h 3835879"/>
              <a:gd name="connsiteX3" fmla="*/ 0 w 7637254"/>
              <a:gd name="connsiteY3" fmla="*/ 3835879 h 3835879"/>
              <a:gd name="connsiteX4" fmla="*/ 0 w 7637254"/>
              <a:gd name="connsiteY4" fmla="*/ 0 h 3835879"/>
              <a:gd name="connsiteX0" fmla="*/ 0 w 7637254"/>
              <a:gd name="connsiteY0" fmla="*/ 0 h 3835879"/>
              <a:gd name="connsiteX1" fmla="*/ 7637254 w 7637254"/>
              <a:gd name="connsiteY1" fmla="*/ 0 h 3835879"/>
              <a:gd name="connsiteX2" fmla="*/ 3985405 w 7637254"/>
              <a:gd name="connsiteY2" fmla="*/ 3674853 h 3835879"/>
              <a:gd name="connsiteX3" fmla="*/ 0 w 7637254"/>
              <a:gd name="connsiteY3" fmla="*/ 3835879 h 3835879"/>
              <a:gd name="connsiteX4" fmla="*/ 0 w 7637254"/>
              <a:gd name="connsiteY4" fmla="*/ 0 h 3835879"/>
              <a:gd name="connsiteX0" fmla="*/ 0 w 7637254"/>
              <a:gd name="connsiteY0" fmla="*/ 0 h 3835879"/>
              <a:gd name="connsiteX1" fmla="*/ 7637254 w 7637254"/>
              <a:gd name="connsiteY1" fmla="*/ 0 h 3835879"/>
              <a:gd name="connsiteX2" fmla="*/ 3985405 w 7637254"/>
              <a:gd name="connsiteY2" fmla="*/ 3674853 h 3835879"/>
              <a:gd name="connsiteX3" fmla="*/ 0 w 7637254"/>
              <a:gd name="connsiteY3" fmla="*/ 3835879 h 3835879"/>
              <a:gd name="connsiteX4" fmla="*/ 0 w 7637254"/>
              <a:gd name="connsiteY4" fmla="*/ 0 h 3835879"/>
              <a:gd name="connsiteX0" fmla="*/ 0 w 7637254"/>
              <a:gd name="connsiteY0" fmla="*/ 0 h 3835879"/>
              <a:gd name="connsiteX1" fmla="*/ 7637254 w 7637254"/>
              <a:gd name="connsiteY1" fmla="*/ 0 h 3835879"/>
              <a:gd name="connsiteX2" fmla="*/ 3985405 w 7637254"/>
              <a:gd name="connsiteY2" fmla="*/ 3674853 h 3835879"/>
              <a:gd name="connsiteX3" fmla="*/ 0 w 7637254"/>
              <a:gd name="connsiteY3" fmla="*/ 3835879 h 3835879"/>
              <a:gd name="connsiteX4" fmla="*/ 0 w 7637254"/>
              <a:gd name="connsiteY4" fmla="*/ 0 h 3835879"/>
              <a:gd name="connsiteX0" fmla="*/ 0 w 7637254"/>
              <a:gd name="connsiteY0" fmla="*/ 0 h 3835879"/>
              <a:gd name="connsiteX1" fmla="*/ 7637254 w 7637254"/>
              <a:gd name="connsiteY1" fmla="*/ 0 h 3835879"/>
              <a:gd name="connsiteX2" fmla="*/ 3985405 w 7637254"/>
              <a:gd name="connsiteY2" fmla="*/ 3674853 h 3835879"/>
              <a:gd name="connsiteX3" fmla="*/ 0 w 7637254"/>
              <a:gd name="connsiteY3" fmla="*/ 3835879 h 3835879"/>
              <a:gd name="connsiteX4" fmla="*/ 0 w 7637254"/>
              <a:gd name="connsiteY4" fmla="*/ 0 h 3835879"/>
              <a:gd name="connsiteX0" fmla="*/ 0 w 7637254"/>
              <a:gd name="connsiteY0" fmla="*/ 0 h 3835879"/>
              <a:gd name="connsiteX1" fmla="*/ 7637254 w 7637254"/>
              <a:gd name="connsiteY1" fmla="*/ 0 h 3835879"/>
              <a:gd name="connsiteX2" fmla="*/ 3985405 w 7637254"/>
              <a:gd name="connsiteY2" fmla="*/ 3674853 h 3835879"/>
              <a:gd name="connsiteX3" fmla="*/ 0 w 7637254"/>
              <a:gd name="connsiteY3" fmla="*/ 3835879 h 3835879"/>
              <a:gd name="connsiteX4" fmla="*/ 0 w 7637254"/>
              <a:gd name="connsiteY4" fmla="*/ 0 h 3835879"/>
              <a:gd name="connsiteX0" fmla="*/ 0 w 7637254"/>
              <a:gd name="connsiteY0" fmla="*/ 0 h 3674853"/>
              <a:gd name="connsiteX1" fmla="*/ 7637254 w 7637254"/>
              <a:gd name="connsiteY1" fmla="*/ 0 h 3674853"/>
              <a:gd name="connsiteX2" fmla="*/ 3985405 w 7637254"/>
              <a:gd name="connsiteY2" fmla="*/ 3674853 h 3674853"/>
              <a:gd name="connsiteX3" fmla="*/ 11502 w 7637254"/>
              <a:gd name="connsiteY3" fmla="*/ 3358551 h 3674853"/>
              <a:gd name="connsiteX4" fmla="*/ 0 w 7637254"/>
              <a:gd name="connsiteY4" fmla="*/ 0 h 3674853"/>
              <a:gd name="connsiteX0" fmla="*/ 0 w 7637254"/>
              <a:gd name="connsiteY0" fmla="*/ 0 h 3674853"/>
              <a:gd name="connsiteX1" fmla="*/ 7637254 w 7637254"/>
              <a:gd name="connsiteY1" fmla="*/ 0 h 3674853"/>
              <a:gd name="connsiteX2" fmla="*/ 3985405 w 7637254"/>
              <a:gd name="connsiteY2" fmla="*/ 3674853 h 3674853"/>
              <a:gd name="connsiteX3" fmla="*/ 0 w 7637254"/>
              <a:gd name="connsiteY3" fmla="*/ 2927230 h 3674853"/>
              <a:gd name="connsiteX4" fmla="*/ 0 w 7637254"/>
              <a:gd name="connsiteY4" fmla="*/ 0 h 3674853"/>
              <a:gd name="connsiteX0" fmla="*/ 0 w 7637254"/>
              <a:gd name="connsiteY0" fmla="*/ 0 h 3674853"/>
              <a:gd name="connsiteX1" fmla="*/ 7637254 w 7637254"/>
              <a:gd name="connsiteY1" fmla="*/ 0 h 3674853"/>
              <a:gd name="connsiteX2" fmla="*/ 3985405 w 7637254"/>
              <a:gd name="connsiteY2" fmla="*/ 3674853 h 3674853"/>
              <a:gd name="connsiteX3" fmla="*/ 0 w 7637254"/>
              <a:gd name="connsiteY3" fmla="*/ 3220528 h 3674853"/>
              <a:gd name="connsiteX4" fmla="*/ 0 w 7637254"/>
              <a:gd name="connsiteY4" fmla="*/ 0 h 3674853"/>
              <a:gd name="connsiteX0" fmla="*/ 0 w 7637254"/>
              <a:gd name="connsiteY0" fmla="*/ 0 h 3709671"/>
              <a:gd name="connsiteX1" fmla="*/ 7637254 w 7637254"/>
              <a:gd name="connsiteY1" fmla="*/ 0 h 3709671"/>
              <a:gd name="connsiteX2" fmla="*/ 3985405 w 7637254"/>
              <a:gd name="connsiteY2" fmla="*/ 3674853 h 3709671"/>
              <a:gd name="connsiteX3" fmla="*/ 0 w 7637254"/>
              <a:gd name="connsiteY3" fmla="*/ 3220528 h 3709671"/>
              <a:gd name="connsiteX4" fmla="*/ 0 w 7637254"/>
              <a:gd name="connsiteY4" fmla="*/ 0 h 3709671"/>
              <a:gd name="connsiteX0" fmla="*/ 0 w 7637254"/>
              <a:gd name="connsiteY0" fmla="*/ 0 h 3851364"/>
              <a:gd name="connsiteX1" fmla="*/ 7637254 w 7637254"/>
              <a:gd name="connsiteY1" fmla="*/ 0 h 3851364"/>
              <a:gd name="connsiteX2" fmla="*/ 3985405 w 7637254"/>
              <a:gd name="connsiteY2" fmla="*/ 3674853 h 3851364"/>
              <a:gd name="connsiteX3" fmla="*/ 0 w 7637254"/>
              <a:gd name="connsiteY3" fmla="*/ 3220528 h 3851364"/>
              <a:gd name="connsiteX4" fmla="*/ 0 w 7637254"/>
              <a:gd name="connsiteY4" fmla="*/ 0 h 3851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37254" h="3851364">
                <a:moveTo>
                  <a:pt x="0" y="0"/>
                </a:moveTo>
                <a:lnTo>
                  <a:pt x="7637254" y="0"/>
                </a:lnTo>
                <a:cubicBezTo>
                  <a:pt x="7351624" y="580845"/>
                  <a:pt x="6416137" y="2932981"/>
                  <a:pt x="3985405" y="3674853"/>
                </a:cubicBezTo>
                <a:cubicBezTo>
                  <a:pt x="3283790" y="3885721"/>
                  <a:pt x="1719532" y="4067834"/>
                  <a:pt x="0" y="3220528"/>
                </a:cubicBez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9" name="Plassholder for bilde 14">
            <a:extLst>
              <a:ext uri="{FF2B5EF4-FFF2-40B4-BE49-F238E27FC236}">
                <a16:creationId xmlns:a16="http://schemas.microsoft.com/office/drawing/2014/main" id="{CFF86548-7C12-4F4F-8A1C-AF4103E6089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20885" y="3102573"/>
            <a:ext cx="12233769" cy="3755427"/>
          </a:xfrm>
          <a:custGeom>
            <a:avLst/>
            <a:gdLst>
              <a:gd name="connsiteX0" fmla="*/ 0 w 12192000"/>
              <a:gd name="connsiteY0" fmla="*/ 1886558 h 3773115"/>
              <a:gd name="connsiteX1" fmla="*/ 6096000 w 12192000"/>
              <a:gd name="connsiteY1" fmla="*/ 0 h 3773115"/>
              <a:gd name="connsiteX2" fmla="*/ 12192000 w 12192000"/>
              <a:gd name="connsiteY2" fmla="*/ 1886558 h 3773115"/>
              <a:gd name="connsiteX3" fmla="*/ 6096000 w 12192000"/>
              <a:gd name="connsiteY3" fmla="*/ 3773116 h 3773115"/>
              <a:gd name="connsiteX4" fmla="*/ 0 w 12192000"/>
              <a:gd name="connsiteY4" fmla="*/ 1886558 h 3773115"/>
              <a:gd name="connsiteX0" fmla="*/ 0 w 12220575"/>
              <a:gd name="connsiteY0" fmla="*/ 1936440 h 4323461"/>
              <a:gd name="connsiteX1" fmla="*/ 6096000 w 12220575"/>
              <a:gd name="connsiteY1" fmla="*/ 49882 h 4323461"/>
              <a:gd name="connsiteX2" fmla="*/ 12220575 w 12220575"/>
              <a:gd name="connsiteY2" fmla="*/ 3765240 h 4323461"/>
              <a:gd name="connsiteX3" fmla="*/ 6096000 w 12220575"/>
              <a:gd name="connsiteY3" fmla="*/ 3822998 h 4323461"/>
              <a:gd name="connsiteX4" fmla="*/ 0 w 12220575"/>
              <a:gd name="connsiteY4" fmla="*/ 1936440 h 4323461"/>
              <a:gd name="connsiteX0" fmla="*/ 0 w 12220575"/>
              <a:gd name="connsiteY0" fmla="*/ 1936440 h 3959138"/>
              <a:gd name="connsiteX1" fmla="*/ 6096000 w 12220575"/>
              <a:gd name="connsiteY1" fmla="*/ 49882 h 3959138"/>
              <a:gd name="connsiteX2" fmla="*/ 12220575 w 12220575"/>
              <a:gd name="connsiteY2" fmla="*/ 3765240 h 3959138"/>
              <a:gd name="connsiteX3" fmla="*/ 6096000 w 12220575"/>
              <a:gd name="connsiteY3" fmla="*/ 3822998 h 3959138"/>
              <a:gd name="connsiteX4" fmla="*/ 0 w 12220575"/>
              <a:gd name="connsiteY4" fmla="*/ 1936440 h 3959138"/>
              <a:gd name="connsiteX0" fmla="*/ 0 w 12292012"/>
              <a:gd name="connsiteY0" fmla="*/ 1938973 h 3982031"/>
              <a:gd name="connsiteX1" fmla="*/ 6096000 w 12292012"/>
              <a:gd name="connsiteY1" fmla="*/ 52415 h 3982031"/>
              <a:gd name="connsiteX2" fmla="*/ 12292012 w 12292012"/>
              <a:gd name="connsiteY2" fmla="*/ 3824923 h 3982031"/>
              <a:gd name="connsiteX3" fmla="*/ 6096000 w 12292012"/>
              <a:gd name="connsiteY3" fmla="*/ 3825531 h 3982031"/>
              <a:gd name="connsiteX4" fmla="*/ 0 w 12292012"/>
              <a:gd name="connsiteY4" fmla="*/ 1938973 h 3982031"/>
              <a:gd name="connsiteX0" fmla="*/ 0 w 12292012"/>
              <a:gd name="connsiteY0" fmla="*/ 1938973 h 3982031"/>
              <a:gd name="connsiteX1" fmla="*/ 6096000 w 12292012"/>
              <a:gd name="connsiteY1" fmla="*/ 52415 h 3982031"/>
              <a:gd name="connsiteX2" fmla="*/ 12292012 w 12292012"/>
              <a:gd name="connsiteY2" fmla="*/ 3824923 h 3982031"/>
              <a:gd name="connsiteX3" fmla="*/ 6096000 w 12292012"/>
              <a:gd name="connsiteY3" fmla="*/ 3825531 h 3982031"/>
              <a:gd name="connsiteX4" fmla="*/ 0 w 12292012"/>
              <a:gd name="connsiteY4" fmla="*/ 1938973 h 3982031"/>
              <a:gd name="connsiteX0" fmla="*/ 132341 w 13244297"/>
              <a:gd name="connsiteY0" fmla="*/ 1634172 h 3677230"/>
              <a:gd name="connsiteX1" fmla="*/ 12300528 w 13244297"/>
              <a:gd name="connsiteY1" fmla="*/ 47651 h 3677230"/>
              <a:gd name="connsiteX2" fmla="*/ 12424353 w 13244297"/>
              <a:gd name="connsiteY2" fmla="*/ 3520122 h 3677230"/>
              <a:gd name="connsiteX3" fmla="*/ 6228341 w 13244297"/>
              <a:gd name="connsiteY3" fmla="*/ 3520730 h 3677230"/>
              <a:gd name="connsiteX4" fmla="*/ 132341 w 13244297"/>
              <a:gd name="connsiteY4" fmla="*/ 1634172 h 3677230"/>
              <a:gd name="connsiteX0" fmla="*/ 132341 w 12424353"/>
              <a:gd name="connsiteY0" fmla="*/ 1634172 h 3677230"/>
              <a:gd name="connsiteX1" fmla="*/ 12300528 w 12424353"/>
              <a:gd name="connsiteY1" fmla="*/ 47651 h 3677230"/>
              <a:gd name="connsiteX2" fmla="*/ 12424353 w 12424353"/>
              <a:gd name="connsiteY2" fmla="*/ 3520122 h 3677230"/>
              <a:gd name="connsiteX3" fmla="*/ 6228341 w 12424353"/>
              <a:gd name="connsiteY3" fmla="*/ 3520730 h 3677230"/>
              <a:gd name="connsiteX4" fmla="*/ 132341 w 12424353"/>
              <a:gd name="connsiteY4" fmla="*/ 1634172 h 3677230"/>
              <a:gd name="connsiteX0" fmla="*/ 131877 w 12352126"/>
              <a:gd name="connsiteY0" fmla="*/ 1634172 h 3682849"/>
              <a:gd name="connsiteX1" fmla="*/ 12300064 w 12352126"/>
              <a:gd name="connsiteY1" fmla="*/ 47651 h 3682849"/>
              <a:gd name="connsiteX2" fmla="*/ 12295302 w 12352126"/>
              <a:gd name="connsiteY2" fmla="*/ 3534409 h 3682849"/>
              <a:gd name="connsiteX3" fmla="*/ 6227877 w 12352126"/>
              <a:gd name="connsiteY3" fmla="*/ 3520730 h 3682849"/>
              <a:gd name="connsiteX4" fmla="*/ 131877 w 12352126"/>
              <a:gd name="connsiteY4" fmla="*/ 1634172 h 3682849"/>
              <a:gd name="connsiteX0" fmla="*/ 131877 w 12300064"/>
              <a:gd name="connsiteY0" fmla="*/ 1634172 h 3682849"/>
              <a:gd name="connsiteX1" fmla="*/ 12300064 w 12300064"/>
              <a:gd name="connsiteY1" fmla="*/ 47651 h 3682849"/>
              <a:gd name="connsiteX2" fmla="*/ 12295302 w 12300064"/>
              <a:gd name="connsiteY2" fmla="*/ 3534409 h 3682849"/>
              <a:gd name="connsiteX3" fmla="*/ 6227877 w 12300064"/>
              <a:gd name="connsiteY3" fmla="*/ 3520730 h 3682849"/>
              <a:gd name="connsiteX4" fmla="*/ 131877 w 12300064"/>
              <a:gd name="connsiteY4" fmla="*/ 1634172 h 3682849"/>
              <a:gd name="connsiteX0" fmla="*/ 128994 w 12454344"/>
              <a:gd name="connsiteY0" fmla="*/ 2884427 h 3571942"/>
              <a:gd name="connsiteX1" fmla="*/ 12454344 w 12454344"/>
              <a:gd name="connsiteY1" fmla="*/ 26319 h 3571942"/>
              <a:gd name="connsiteX2" fmla="*/ 12449582 w 12454344"/>
              <a:gd name="connsiteY2" fmla="*/ 3513077 h 3571942"/>
              <a:gd name="connsiteX3" fmla="*/ 6382157 w 12454344"/>
              <a:gd name="connsiteY3" fmla="*/ 3499398 h 3571942"/>
              <a:gd name="connsiteX4" fmla="*/ 128994 w 12454344"/>
              <a:gd name="connsiteY4" fmla="*/ 2884427 h 3571942"/>
              <a:gd name="connsiteX0" fmla="*/ 128994 w 12454344"/>
              <a:gd name="connsiteY0" fmla="*/ 3115890 h 3803405"/>
              <a:gd name="connsiteX1" fmla="*/ 12454344 w 12454344"/>
              <a:gd name="connsiteY1" fmla="*/ 257782 h 3803405"/>
              <a:gd name="connsiteX2" fmla="*/ 12449582 w 12454344"/>
              <a:gd name="connsiteY2" fmla="*/ 3744540 h 3803405"/>
              <a:gd name="connsiteX3" fmla="*/ 6382157 w 12454344"/>
              <a:gd name="connsiteY3" fmla="*/ 3730861 h 3803405"/>
              <a:gd name="connsiteX4" fmla="*/ 128994 w 12454344"/>
              <a:gd name="connsiteY4" fmla="*/ 3115890 h 3803405"/>
              <a:gd name="connsiteX0" fmla="*/ 994239 w 13319589"/>
              <a:gd name="connsiteY0" fmla="*/ 3115890 h 3803405"/>
              <a:gd name="connsiteX1" fmla="*/ 13319589 w 13319589"/>
              <a:gd name="connsiteY1" fmla="*/ 257782 h 3803405"/>
              <a:gd name="connsiteX2" fmla="*/ 13314827 w 13319589"/>
              <a:gd name="connsiteY2" fmla="*/ 3744540 h 3803405"/>
              <a:gd name="connsiteX3" fmla="*/ 7247402 w 13319589"/>
              <a:gd name="connsiteY3" fmla="*/ 3730861 h 3803405"/>
              <a:gd name="connsiteX4" fmla="*/ 1465725 w 13319589"/>
              <a:gd name="connsiteY4" fmla="*/ 3493834 h 3803405"/>
              <a:gd name="connsiteX5" fmla="*/ 994239 w 13319589"/>
              <a:gd name="connsiteY5" fmla="*/ 3115890 h 3803405"/>
              <a:gd name="connsiteX0" fmla="*/ 1124735 w 13450085"/>
              <a:gd name="connsiteY0" fmla="*/ 3115890 h 3773776"/>
              <a:gd name="connsiteX1" fmla="*/ 13450085 w 13450085"/>
              <a:gd name="connsiteY1" fmla="*/ 257782 h 3773776"/>
              <a:gd name="connsiteX2" fmla="*/ 13445323 w 13450085"/>
              <a:gd name="connsiteY2" fmla="*/ 3744540 h 3773776"/>
              <a:gd name="connsiteX3" fmla="*/ 7377898 w 13450085"/>
              <a:gd name="connsiteY3" fmla="*/ 3730861 h 3773776"/>
              <a:gd name="connsiteX4" fmla="*/ 1210458 w 13450085"/>
              <a:gd name="connsiteY4" fmla="*/ 3708146 h 3773776"/>
              <a:gd name="connsiteX5" fmla="*/ 1124735 w 13450085"/>
              <a:gd name="connsiteY5" fmla="*/ 3115890 h 3773776"/>
              <a:gd name="connsiteX0" fmla="*/ 871618 w 13196968"/>
              <a:gd name="connsiteY0" fmla="*/ 3115890 h 3773776"/>
              <a:gd name="connsiteX1" fmla="*/ 13196968 w 13196968"/>
              <a:gd name="connsiteY1" fmla="*/ 257782 h 3773776"/>
              <a:gd name="connsiteX2" fmla="*/ 13192206 w 13196968"/>
              <a:gd name="connsiteY2" fmla="*/ 3744540 h 3773776"/>
              <a:gd name="connsiteX3" fmla="*/ 7124781 w 13196968"/>
              <a:gd name="connsiteY3" fmla="*/ 3730861 h 3773776"/>
              <a:gd name="connsiteX4" fmla="*/ 957341 w 13196968"/>
              <a:gd name="connsiteY4" fmla="*/ 3708146 h 3773776"/>
              <a:gd name="connsiteX5" fmla="*/ 871618 w 13196968"/>
              <a:gd name="connsiteY5" fmla="*/ 3115890 h 3773776"/>
              <a:gd name="connsiteX0" fmla="*/ 0 w 12325350"/>
              <a:gd name="connsiteY0" fmla="*/ 3115890 h 3773776"/>
              <a:gd name="connsiteX1" fmla="*/ 12325350 w 12325350"/>
              <a:gd name="connsiteY1" fmla="*/ 257782 h 3773776"/>
              <a:gd name="connsiteX2" fmla="*/ 12320588 w 12325350"/>
              <a:gd name="connsiteY2" fmla="*/ 3744540 h 3773776"/>
              <a:gd name="connsiteX3" fmla="*/ 6253163 w 12325350"/>
              <a:gd name="connsiteY3" fmla="*/ 3730861 h 3773776"/>
              <a:gd name="connsiteX4" fmla="*/ 85723 w 12325350"/>
              <a:gd name="connsiteY4" fmla="*/ 3708146 h 3773776"/>
              <a:gd name="connsiteX5" fmla="*/ 0 w 12325350"/>
              <a:gd name="connsiteY5" fmla="*/ 3115890 h 3773776"/>
              <a:gd name="connsiteX0" fmla="*/ 0 w 12296775"/>
              <a:gd name="connsiteY0" fmla="*/ 3115890 h 3773776"/>
              <a:gd name="connsiteX1" fmla="*/ 12296775 w 12296775"/>
              <a:gd name="connsiteY1" fmla="*/ 257782 h 3773776"/>
              <a:gd name="connsiteX2" fmla="*/ 12292013 w 12296775"/>
              <a:gd name="connsiteY2" fmla="*/ 3744540 h 3773776"/>
              <a:gd name="connsiteX3" fmla="*/ 6224588 w 12296775"/>
              <a:gd name="connsiteY3" fmla="*/ 3730861 h 3773776"/>
              <a:gd name="connsiteX4" fmla="*/ 57148 w 12296775"/>
              <a:gd name="connsiteY4" fmla="*/ 3708146 h 3773776"/>
              <a:gd name="connsiteX5" fmla="*/ 0 w 12296775"/>
              <a:gd name="connsiteY5" fmla="*/ 3115890 h 3773776"/>
              <a:gd name="connsiteX0" fmla="*/ 15396 w 12312171"/>
              <a:gd name="connsiteY0" fmla="*/ 3115890 h 3773776"/>
              <a:gd name="connsiteX1" fmla="*/ 12312171 w 12312171"/>
              <a:gd name="connsiteY1" fmla="*/ 257782 h 3773776"/>
              <a:gd name="connsiteX2" fmla="*/ 12307409 w 12312171"/>
              <a:gd name="connsiteY2" fmla="*/ 3744540 h 3773776"/>
              <a:gd name="connsiteX3" fmla="*/ 6239984 w 12312171"/>
              <a:gd name="connsiteY3" fmla="*/ 3730861 h 3773776"/>
              <a:gd name="connsiteX4" fmla="*/ 72544 w 12312171"/>
              <a:gd name="connsiteY4" fmla="*/ 3708146 h 3773776"/>
              <a:gd name="connsiteX5" fmla="*/ 15396 w 12312171"/>
              <a:gd name="connsiteY5" fmla="*/ 3115890 h 3773776"/>
              <a:gd name="connsiteX0" fmla="*/ 19371 w 12316146"/>
              <a:gd name="connsiteY0" fmla="*/ 3115890 h 3792066"/>
              <a:gd name="connsiteX1" fmla="*/ 12316146 w 12316146"/>
              <a:gd name="connsiteY1" fmla="*/ 257782 h 3792066"/>
              <a:gd name="connsiteX2" fmla="*/ 12311384 w 12316146"/>
              <a:gd name="connsiteY2" fmla="*/ 3744540 h 3792066"/>
              <a:gd name="connsiteX3" fmla="*/ 6243959 w 12316146"/>
              <a:gd name="connsiteY3" fmla="*/ 3730861 h 3792066"/>
              <a:gd name="connsiteX4" fmla="*/ 62231 w 12316146"/>
              <a:gd name="connsiteY4" fmla="*/ 3751009 h 3792066"/>
              <a:gd name="connsiteX5" fmla="*/ 19371 w 12316146"/>
              <a:gd name="connsiteY5" fmla="*/ 3115890 h 3792066"/>
              <a:gd name="connsiteX0" fmla="*/ 19371 w 12316146"/>
              <a:gd name="connsiteY0" fmla="*/ 3115890 h 3772425"/>
              <a:gd name="connsiteX1" fmla="*/ 12316146 w 12316146"/>
              <a:gd name="connsiteY1" fmla="*/ 257782 h 3772425"/>
              <a:gd name="connsiteX2" fmla="*/ 12311384 w 12316146"/>
              <a:gd name="connsiteY2" fmla="*/ 3744540 h 3772425"/>
              <a:gd name="connsiteX3" fmla="*/ 6243959 w 12316146"/>
              <a:gd name="connsiteY3" fmla="*/ 3730861 h 3772425"/>
              <a:gd name="connsiteX4" fmla="*/ 62231 w 12316146"/>
              <a:gd name="connsiteY4" fmla="*/ 3751009 h 3772425"/>
              <a:gd name="connsiteX5" fmla="*/ 19371 w 12316146"/>
              <a:gd name="connsiteY5" fmla="*/ 3115890 h 3772425"/>
              <a:gd name="connsiteX0" fmla="*/ 13149 w 12334976"/>
              <a:gd name="connsiteY0" fmla="*/ 3134285 h 3765768"/>
              <a:gd name="connsiteX1" fmla="*/ 12334976 w 12334976"/>
              <a:gd name="connsiteY1" fmla="*/ 251125 h 3765768"/>
              <a:gd name="connsiteX2" fmla="*/ 12330214 w 12334976"/>
              <a:gd name="connsiteY2" fmla="*/ 3737883 h 3765768"/>
              <a:gd name="connsiteX3" fmla="*/ 6262789 w 12334976"/>
              <a:gd name="connsiteY3" fmla="*/ 3724204 h 3765768"/>
              <a:gd name="connsiteX4" fmla="*/ 81061 w 12334976"/>
              <a:gd name="connsiteY4" fmla="*/ 3744352 h 3765768"/>
              <a:gd name="connsiteX5" fmla="*/ 13149 w 12334976"/>
              <a:gd name="connsiteY5" fmla="*/ 3134285 h 3765768"/>
              <a:gd name="connsiteX0" fmla="*/ 36715 w 12358542"/>
              <a:gd name="connsiteY0" fmla="*/ 3134285 h 3765768"/>
              <a:gd name="connsiteX1" fmla="*/ 12358542 w 12358542"/>
              <a:gd name="connsiteY1" fmla="*/ 251125 h 3765768"/>
              <a:gd name="connsiteX2" fmla="*/ 12353780 w 12358542"/>
              <a:gd name="connsiteY2" fmla="*/ 3737883 h 3765768"/>
              <a:gd name="connsiteX3" fmla="*/ 6286355 w 12358542"/>
              <a:gd name="connsiteY3" fmla="*/ 3724204 h 3765768"/>
              <a:gd name="connsiteX4" fmla="*/ 41997 w 12358542"/>
              <a:gd name="connsiteY4" fmla="*/ 3750615 h 3765768"/>
              <a:gd name="connsiteX5" fmla="*/ 36715 w 12358542"/>
              <a:gd name="connsiteY5" fmla="*/ 3134285 h 3765768"/>
              <a:gd name="connsiteX0" fmla="*/ 16398 w 12338225"/>
              <a:gd name="connsiteY0" fmla="*/ 3134285 h 3765768"/>
              <a:gd name="connsiteX1" fmla="*/ 12338225 w 12338225"/>
              <a:gd name="connsiteY1" fmla="*/ 251125 h 3765768"/>
              <a:gd name="connsiteX2" fmla="*/ 12333463 w 12338225"/>
              <a:gd name="connsiteY2" fmla="*/ 3737883 h 3765768"/>
              <a:gd name="connsiteX3" fmla="*/ 6266038 w 12338225"/>
              <a:gd name="connsiteY3" fmla="*/ 3724204 h 3765768"/>
              <a:gd name="connsiteX4" fmla="*/ 21680 w 12338225"/>
              <a:gd name="connsiteY4" fmla="*/ 3750615 h 3765768"/>
              <a:gd name="connsiteX5" fmla="*/ 16398 w 12338225"/>
              <a:gd name="connsiteY5" fmla="*/ 3134285 h 3765768"/>
              <a:gd name="connsiteX0" fmla="*/ 12398 w 12334225"/>
              <a:gd name="connsiteY0" fmla="*/ 3134285 h 3765768"/>
              <a:gd name="connsiteX1" fmla="*/ 12334225 w 12334225"/>
              <a:gd name="connsiteY1" fmla="*/ 251125 h 3765768"/>
              <a:gd name="connsiteX2" fmla="*/ 12329463 w 12334225"/>
              <a:gd name="connsiteY2" fmla="*/ 3737883 h 3765768"/>
              <a:gd name="connsiteX3" fmla="*/ 6262038 w 12334225"/>
              <a:gd name="connsiteY3" fmla="*/ 3724204 h 3765768"/>
              <a:gd name="connsiteX4" fmla="*/ 17680 w 12334225"/>
              <a:gd name="connsiteY4" fmla="*/ 3750615 h 3765768"/>
              <a:gd name="connsiteX5" fmla="*/ 12398 w 12334225"/>
              <a:gd name="connsiteY5" fmla="*/ 3134285 h 3765768"/>
              <a:gd name="connsiteX0" fmla="*/ 0 w 12321827"/>
              <a:gd name="connsiteY0" fmla="*/ 3134285 h 3765768"/>
              <a:gd name="connsiteX1" fmla="*/ 12321827 w 12321827"/>
              <a:gd name="connsiteY1" fmla="*/ 251125 h 3765768"/>
              <a:gd name="connsiteX2" fmla="*/ 12317065 w 12321827"/>
              <a:gd name="connsiteY2" fmla="*/ 3737883 h 3765768"/>
              <a:gd name="connsiteX3" fmla="*/ 6249640 w 12321827"/>
              <a:gd name="connsiteY3" fmla="*/ 3724204 h 3765768"/>
              <a:gd name="connsiteX4" fmla="*/ 5282 w 12321827"/>
              <a:gd name="connsiteY4" fmla="*/ 3750615 h 3765768"/>
              <a:gd name="connsiteX5" fmla="*/ 0 w 12321827"/>
              <a:gd name="connsiteY5" fmla="*/ 3134285 h 3765768"/>
              <a:gd name="connsiteX0" fmla="*/ 96 w 12321923"/>
              <a:gd name="connsiteY0" fmla="*/ 3134285 h 3765768"/>
              <a:gd name="connsiteX1" fmla="*/ 12321923 w 12321923"/>
              <a:gd name="connsiteY1" fmla="*/ 251125 h 3765768"/>
              <a:gd name="connsiteX2" fmla="*/ 12317161 w 12321923"/>
              <a:gd name="connsiteY2" fmla="*/ 3737883 h 3765768"/>
              <a:gd name="connsiteX3" fmla="*/ 6249736 w 12321923"/>
              <a:gd name="connsiteY3" fmla="*/ 3724204 h 3765768"/>
              <a:gd name="connsiteX4" fmla="*/ 5378 w 12321923"/>
              <a:gd name="connsiteY4" fmla="*/ 3750615 h 3765768"/>
              <a:gd name="connsiteX5" fmla="*/ 96 w 12321923"/>
              <a:gd name="connsiteY5" fmla="*/ 3134285 h 3765768"/>
              <a:gd name="connsiteX0" fmla="*/ 96 w 12321923"/>
              <a:gd name="connsiteY0" fmla="*/ 3134285 h 3774180"/>
              <a:gd name="connsiteX1" fmla="*/ 12321923 w 12321923"/>
              <a:gd name="connsiteY1" fmla="*/ 251125 h 3774180"/>
              <a:gd name="connsiteX2" fmla="*/ 12317161 w 12321923"/>
              <a:gd name="connsiteY2" fmla="*/ 3737883 h 3774180"/>
              <a:gd name="connsiteX3" fmla="*/ 6255999 w 12321923"/>
              <a:gd name="connsiteY3" fmla="*/ 3755519 h 3774180"/>
              <a:gd name="connsiteX4" fmla="*/ 5378 w 12321923"/>
              <a:gd name="connsiteY4" fmla="*/ 3750615 h 3774180"/>
              <a:gd name="connsiteX5" fmla="*/ 96 w 12321923"/>
              <a:gd name="connsiteY5" fmla="*/ 3134285 h 3774180"/>
              <a:gd name="connsiteX0" fmla="*/ 96 w 12321923"/>
              <a:gd name="connsiteY0" fmla="*/ 3134285 h 3792314"/>
              <a:gd name="connsiteX1" fmla="*/ 12321923 w 12321923"/>
              <a:gd name="connsiteY1" fmla="*/ 251125 h 3792314"/>
              <a:gd name="connsiteX2" fmla="*/ 12247793 w 12321923"/>
              <a:gd name="connsiteY2" fmla="*/ 3763108 h 3792314"/>
              <a:gd name="connsiteX3" fmla="*/ 6255999 w 12321923"/>
              <a:gd name="connsiteY3" fmla="*/ 3755519 h 3792314"/>
              <a:gd name="connsiteX4" fmla="*/ 5378 w 12321923"/>
              <a:gd name="connsiteY4" fmla="*/ 3750615 h 3792314"/>
              <a:gd name="connsiteX5" fmla="*/ 96 w 12321923"/>
              <a:gd name="connsiteY5" fmla="*/ 3134285 h 3792314"/>
              <a:gd name="connsiteX0" fmla="*/ 96 w 12321923"/>
              <a:gd name="connsiteY0" fmla="*/ 3134285 h 3778416"/>
              <a:gd name="connsiteX1" fmla="*/ 12321923 w 12321923"/>
              <a:gd name="connsiteY1" fmla="*/ 251125 h 3778416"/>
              <a:gd name="connsiteX2" fmla="*/ 12209956 w 12321923"/>
              <a:gd name="connsiteY2" fmla="*/ 3744189 h 3778416"/>
              <a:gd name="connsiteX3" fmla="*/ 6255999 w 12321923"/>
              <a:gd name="connsiteY3" fmla="*/ 3755519 h 3778416"/>
              <a:gd name="connsiteX4" fmla="*/ 5378 w 12321923"/>
              <a:gd name="connsiteY4" fmla="*/ 3750615 h 3778416"/>
              <a:gd name="connsiteX5" fmla="*/ 96 w 12321923"/>
              <a:gd name="connsiteY5" fmla="*/ 3134285 h 3778416"/>
              <a:gd name="connsiteX0" fmla="*/ 96 w 12321923"/>
              <a:gd name="connsiteY0" fmla="*/ 3134285 h 3756932"/>
              <a:gd name="connsiteX1" fmla="*/ 12321923 w 12321923"/>
              <a:gd name="connsiteY1" fmla="*/ 251125 h 3756932"/>
              <a:gd name="connsiteX2" fmla="*/ 12209956 w 12321923"/>
              <a:gd name="connsiteY2" fmla="*/ 3744189 h 3756932"/>
              <a:gd name="connsiteX3" fmla="*/ 6255999 w 12321923"/>
              <a:gd name="connsiteY3" fmla="*/ 3755519 h 3756932"/>
              <a:gd name="connsiteX4" fmla="*/ 5378 w 12321923"/>
              <a:gd name="connsiteY4" fmla="*/ 3750615 h 3756932"/>
              <a:gd name="connsiteX5" fmla="*/ 96 w 12321923"/>
              <a:gd name="connsiteY5" fmla="*/ 3134285 h 3756932"/>
              <a:gd name="connsiteX0" fmla="*/ 96 w 12233636"/>
              <a:gd name="connsiteY0" fmla="*/ 3101972 h 3724619"/>
              <a:gd name="connsiteX1" fmla="*/ 12233636 w 12233636"/>
              <a:gd name="connsiteY1" fmla="*/ 262955 h 3724619"/>
              <a:gd name="connsiteX2" fmla="*/ 12209956 w 12233636"/>
              <a:gd name="connsiteY2" fmla="*/ 3711876 h 3724619"/>
              <a:gd name="connsiteX3" fmla="*/ 6255999 w 12233636"/>
              <a:gd name="connsiteY3" fmla="*/ 3723206 h 3724619"/>
              <a:gd name="connsiteX4" fmla="*/ 5378 w 12233636"/>
              <a:gd name="connsiteY4" fmla="*/ 3718302 h 3724619"/>
              <a:gd name="connsiteX5" fmla="*/ 96 w 12233636"/>
              <a:gd name="connsiteY5" fmla="*/ 3101972 h 3724619"/>
              <a:gd name="connsiteX0" fmla="*/ 96 w 12233769"/>
              <a:gd name="connsiteY0" fmla="*/ 3101972 h 3724619"/>
              <a:gd name="connsiteX1" fmla="*/ 12233636 w 12233769"/>
              <a:gd name="connsiteY1" fmla="*/ 262955 h 3724619"/>
              <a:gd name="connsiteX2" fmla="*/ 12209956 w 12233769"/>
              <a:gd name="connsiteY2" fmla="*/ 3711876 h 3724619"/>
              <a:gd name="connsiteX3" fmla="*/ 6255999 w 12233769"/>
              <a:gd name="connsiteY3" fmla="*/ 3723206 h 3724619"/>
              <a:gd name="connsiteX4" fmla="*/ 5378 w 12233769"/>
              <a:gd name="connsiteY4" fmla="*/ 3718302 h 3724619"/>
              <a:gd name="connsiteX5" fmla="*/ 96 w 12233769"/>
              <a:gd name="connsiteY5" fmla="*/ 3101972 h 3724619"/>
              <a:gd name="connsiteX0" fmla="*/ 96 w 12233769"/>
              <a:gd name="connsiteY0" fmla="*/ 3132780 h 3755427"/>
              <a:gd name="connsiteX1" fmla="*/ 12233636 w 12233769"/>
              <a:gd name="connsiteY1" fmla="*/ 293763 h 3755427"/>
              <a:gd name="connsiteX2" fmla="*/ 12209956 w 12233769"/>
              <a:gd name="connsiteY2" fmla="*/ 3742684 h 3755427"/>
              <a:gd name="connsiteX3" fmla="*/ 6255999 w 12233769"/>
              <a:gd name="connsiteY3" fmla="*/ 3754014 h 3755427"/>
              <a:gd name="connsiteX4" fmla="*/ 5378 w 12233769"/>
              <a:gd name="connsiteY4" fmla="*/ 3749110 h 3755427"/>
              <a:gd name="connsiteX5" fmla="*/ 96 w 12233769"/>
              <a:gd name="connsiteY5" fmla="*/ 3132780 h 3755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33769" h="3755427">
                <a:moveTo>
                  <a:pt x="96" y="3132780"/>
                </a:moveTo>
                <a:cubicBezTo>
                  <a:pt x="4841177" y="-732191"/>
                  <a:pt x="10248029" y="-89930"/>
                  <a:pt x="12233636" y="293763"/>
                </a:cubicBezTo>
                <a:cubicBezTo>
                  <a:pt x="12235843" y="407670"/>
                  <a:pt x="12209956" y="1672067"/>
                  <a:pt x="12209956" y="3742684"/>
                </a:cubicBezTo>
                <a:cubicBezTo>
                  <a:pt x="12142952" y="3762601"/>
                  <a:pt x="8297524" y="3752936"/>
                  <a:pt x="6255999" y="3754014"/>
                </a:cubicBezTo>
                <a:lnTo>
                  <a:pt x="5378" y="3749110"/>
                </a:lnTo>
                <a:cubicBezTo>
                  <a:pt x="9890" y="3433868"/>
                  <a:pt x="-1133" y="3382654"/>
                  <a:pt x="96" y="313278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velge nytt bilde fra fil, eller dra bilde over i plassholder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B92CDF9-DE82-0E43-9833-C44C8FE8A14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9007" y="360000"/>
            <a:ext cx="11095200" cy="2387600"/>
          </a:xfrm>
        </p:spPr>
        <p:txBody>
          <a:bodyPr anchor="b" anchorCtr="0">
            <a:normAutofit/>
          </a:bodyPr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nb-NO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AD6A55A-1A30-1B4C-B3FC-7D1F5CBA80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9007" y="2880000"/>
            <a:ext cx="11095199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1" name="Picture 13">
            <a:extLst>
              <a:ext uri="{FF2B5EF4-FFF2-40B4-BE49-F238E27FC236}">
                <a16:creationId xmlns:a16="http://schemas.microsoft.com/office/drawing/2014/main" id="{B4971C40-F366-EA4C-8894-DB819E00AC0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2484" y="555571"/>
            <a:ext cx="1029182" cy="292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18178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close up of a logo&#10;&#10;Description automatically generated">
            <a:extLst>
              <a:ext uri="{FF2B5EF4-FFF2-40B4-BE49-F238E27FC236}">
                <a16:creationId xmlns:a16="http://schemas.microsoft.com/office/drawing/2014/main" id="{1F3D5432-B8BD-1942-814C-BB807E40219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B92CDF9-DE82-0E43-9833-C44C8FE8A14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9007" y="360000"/>
            <a:ext cx="11095200" cy="2387600"/>
          </a:xfrm>
        </p:spPr>
        <p:txBody>
          <a:bodyPr anchor="b" anchorCtr="0">
            <a:normAutofit/>
          </a:bodyPr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AD6A55A-1A30-1B4C-B3FC-7D1F5CBA80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9007" y="2880000"/>
            <a:ext cx="11095199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674748-8D86-234F-B56F-31E4FDACBC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01D5A49-647D-AF48-9821-FE85DF38CA7E}" type="datetime1">
              <a:rPr lang="nb-NO" smtClean="0"/>
              <a:t>07.05.2021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53CF2B-1631-7549-B59B-C1B081C0D2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599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b-NO"/>
            </a:defPPr>
            <a:lvl1pPr marL="0" algn="ctr" defTabSz="914400" rtl="0" eaLnBrk="1" latinLnBrk="0" hangingPunct="1">
              <a:defRPr sz="1200" kern="1200">
                <a:solidFill>
                  <a:schemeClr val="bg1">
                    <a:lumMod val="85000"/>
                  </a:schemeClr>
                </a:solidFill>
                <a:latin typeface="Coop Grotesk" panose="020B05040302050201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/>
              <a:t>Tittel på presentasjon/seksjon</a:t>
            </a:r>
            <a:endParaRPr lang="nb-NO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AD60167-4A2D-D446-ACAC-2EF129DAEB3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613810" y="6392441"/>
            <a:ext cx="1029182" cy="292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98905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A - with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9321AC5-5C1E-5A4D-882E-93BCD9C9CF3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7D756D-2099-A44A-838F-CDD66E56E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1862A-D976-A740-ADCB-0272E0249D7F}" type="datetime1">
              <a:rPr lang="nb-NO" smtClean="0"/>
              <a:t>07.05.2021</a:t>
            </a:fld>
            <a:endParaRPr lang="nb-NO"/>
          </a:p>
        </p:txBody>
      </p:sp>
      <p:pic>
        <p:nvPicPr>
          <p:cNvPr id="9" name="Picture 5">
            <a:extLst>
              <a:ext uri="{FF2B5EF4-FFF2-40B4-BE49-F238E27FC236}">
                <a16:creationId xmlns:a16="http://schemas.microsoft.com/office/drawing/2014/main" id="{2943858E-FB19-B949-96AA-3190E5D564B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898658" y="6440567"/>
            <a:ext cx="744333" cy="211863"/>
          </a:xfrm>
          <a:prstGeom prst="rect">
            <a:avLst/>
          </a:prstGeom>
        </p:spPr>
      </p:pic>
      <p:sp>
        <p:nvSpPr>
          <p:cNvPr id="5" name="Tittel 4">
            <a:extLst>
              <a:ext uri="{FF2B5EF4-FFF2-40B4-BE49-F238E27FC236}">
                <a16:creationId xmlns:a16="http://schemas.microsoft.com/office/drawing/2014/main" id="{C4126772-88A3-2A49-8374-C4805756FC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innhold 5">
            <a:extLst>
              <a:ext uri="{FF2B5EF4-FFF2-40B4-BE49-F238E27FC236}">
                <a16:creationId xmlns:a16="http://schemas.microsoft.com/office/drawing/2014/main" id="{78079D0C-795D-0047-ACC5-765028518FED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49007" y="1825625"/>
            <a:ext cx="11093984" cy="435133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39545881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 - with ima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674748-8D86-234F-B56F-31E4FDACBC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3366"/>
                </a:solidFill>
              </a:defRPr>
            </a:lvl1pPr>
          </a:lstStyle>
          <a:p>
            <a:fld id="{5EEB9F79-FBEC-F94E-9E8F-DEDC777817E6}" type="datetime1">
              <a:rPr lang="nb-NO" smtClean="0"/>
              <a:t>07.05.2021</a:t>
            </a:fld>
            <a:endParaRPr lang="nb-NO" dirty="0"/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id="{63D21C51-D411-7E4B-9339-FF7F4B9ABBA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13810" y="6392441"/>
            <a:ext cx="1029182" cy="292941"/>
          </a:xfrm>
          <a:prstGeom prst="rect">
            <a:avLst/>
          </a:prstGeom>
        </p:spPr>
      </p:pic>
      <p:sp>
        <p:nvSpPr>
          <p:cNvPr id="5" name="Rektangel 4">
            <a:extLst>
              <a:ext uri="{FF2B5EF4-FFF2-40B4-BE49-F238E27FC236}">
                <a16:creationId xmlns:a16="http://schemas.microsoft.com/office/drawing/2014/main" id="{AAD757FE-D7BD-6B48-9494-2F8015E1E5F9}"/>
              </a:ext>
            </a:extLst>
          </p:cNvPr>
          <p:cNvSpPr/>
          <p:nvPr userDrawn="1"/>
        </p:nvSpPr>
        <p:spPr>
          <a:xfrm>
            <a:off x="0" y="0"/>
            <a:ext cx="7637254" cy="3851364"/>
          </a:xfrm>
          <a:custGeom>
            <a:avLst/>
            <a:gdLst>
              <a:gd name="connsiteX0" fmla="*/ 0 w 7637254"/>
              <a:gd name="connsiteY0" fmla="*/ 0 h 3835879"/>
              <a:gd name="connsiteX1" fmla="*/ 7637254 w 7637254"/>
              <a:gd name="connsiteY1" fmla="*/ 0 h 3835879"/>
              <a:gd name="connsiteX2" fmla="*/ 7637254 w 7637254"/>
              <a:gd name="connsiteY2" fmla="*/ 3835879 h 3835879"/>
              <a:gd name="connsiteX3" fmla="*/ 0 w 7637254"/>
              <a:gd name="connsiteY3" fmla="*/ 3835879 h 3835879"/>
              <a:gd name="connsiteX4" fmla="*/ 0 w 7637254"/>
              <a:gd name="connsiteY4" fmla="*/ 0 h 3835879"/>
              <a:gd name="connsiteX0" fmla="*/ 0 w 7637254"/>
              <a:gd name="connsiteY0" fmla="*/ 0 h 3835879"/>
              <a:gd name="connsiteX1" fmla="*/ 7637254 w 7637254"/>
              <a:gd name="connsiteY1" fmla="*/ 0 h 3835879"/>
              <a:gd name="connsiteX2" fmla="*/ 3186024 w 7637254"/>
              <a:gd name="connsiteY2" fmla="*/ 3111260 h 3835879"/>
              <a:gd name="connsiteX3" fmla="*/ 0 w 7637254"/>
              <a:gd name="connsiteY3" fmla="*/ 3835879 h 3835879"/>
              <a:gd name="connsiteX4" fmla="*/ 0 w 7637254"/>
              <a:gd name="connsiteY4" fmla="*/ 0 h 3835879"/>
              <a:gd name="connsiteX0" fmla="*/ 0 w 7637254"/>
              <a:gd name="connsiteY0" fmla="*/ 0 h 3835879"/>
              <a:gd name="connsiteX1" fmla="*/ 7637254 w 7637254"/>
              <a:gd name="connsiteY1" fmla="*/ 0 h 3835879"/>
              <a:gd name="connsiteX2" fmla="*/ 3985405 w 7637254"/>
              <a:gd name="connsiteY2" fmla="*/ 3674853 h 3835879"/>
              <a:gd name="connsiteX3" fmla="*/ 0 w 7637254"/>
              <a:gd name="connsiteY3" fmla="*/ 3835879 h 3835879"/>
              <a:gd name="connsiteX4" fmla="*/ 0 w 7637254"/>
              <a:gd name="connsiteY4" fmla="*/ 0 h 3835879"/>
              <a:gd name="connsiteX0" fmla="*/ 0 w 7637254"/>
              <a:gd name="connsiteY0" fmla="*/ 0 h 3835879"/>
              <a:gd name="connsiteX1" fmla="*/ 7637254 w 7637254"/>
              <a:gd name="connsiteY1" fmla="*/ 0 h 3835879"/>
              <a:gd name="connsiteX2" fmla="*/ 3985405 w 7637254"/>
              <a:gd name="connsiteY2" fmla="*/ 3674853 h 3835879"/>
              <a:gd name="connsiteX3" fmla="*/ 0 w 7637254"/>
              <a:gd name="connsiteY3" fmla="*/ 3835879 h 3835879"/>
              <a:gd name="connsiteX4" fmla="*/ 0 w 7637254"/>
              <a:gd name="connsiteY4" fmla="*/ 0 h 3835879"/>
              <a:gd name="connsiteX0" fmla="*/ 0 w 7637254"/>
              <a:gd name="connsiteY0" fmla="*/ 0 h 3835879"/>
              <a:gd name="connsiteX1" fmla="*/ 7637254 w 7637254"/>
              <a:gd name="connsiteY1" fmla="*/ 0 h 3835879"/>
              <a:gd name="connsiteX2" fmla="*/ 3985405 w 7637254"/>
              <a:gd name="connsiteY2" fmla="*/ 3674853 h 3835879"/>
              <a:gd name="connsiteX3" fmla="*/ 0 w 7637254"/>
              <a:gd name="connsiteY3" fmla="*/ 3835879 h 3835879"/>
              <a:gd name="connsiteX4" fmla="*/ 0 w 7637254"/>
              <a:gd name="connsiteY4" fmla="*/ 0 h 3835879"/>
              <a:gd name="connsiteX0" fmla="*/ 0 w 7637254"/>
              <a:gd name="connsiteY0" fmla="*/ 0 h 3835879"/>
              <a:gd name="connsiteX1" fmla="*/ 7637254 w 7637254"/>
              <a:gd name="connsiteY1" fmla="*/ 0 h 3835879"/>
              <a:gd name="connsiteX2" fmla="*/ 3985405 w 7637254"/>
              <a:gd name="connsiteY2" fmla="*/ 3674853 h 3835879"/>
              <a:gd name="connsiteX3" fmla="*/ 0 w 7637254"/>
              <a:gd name="connsiteY3" fmla="*/ 3835879 h 3835879"/>
              <a:gd name="connsiteX4" fmla="*/ 0 w 7637254"/>
              <a:gd name="connsiteY4" fmla="*/ 0 h 3835879"/>
              <a:gd name="connsiteX0" fmla="*/ 0 w 7637254"/>
              <a:gd name="connsiteY0" fmla="*/ 0 h 3835879"/>
              <a:gd name="connsiteX1" fmla="*/ 7637254 w 7637254"/>
              <a:gd name="connsiteY1" fmla="*/ 0 h 3835879"/>
              <a:gd name="connsiteX2" fmla="*/ 3985405 w 7637254"/>
              <a:gd name="connsiteY2" fmla="*/ 3674853 h 3835879"/>
              <a:gd name="connsiteX3" fmla="*/ 0 w 7637254"/>
              <a:gd name="connsiteY3" fmla="*/ 3835879 h 3835879"/>
              <a:gd name="connsiteX4" fmla="*/ 0 w 7637254"/>
              <a:gd name="connsiteY4" fmla="*/ 0 h 3835879"/>
              <a:gd name="connsiteX0" fmla="*/ 0 w 7637254"/>
              <a:gd name="connsiteY0" fmla="*/ 0 h 3674853"/>
              <a:gd name="connsiteX1" fmla="*/ 7637254 w 7637254"/>
              <a:gd name="connsiteY1" fmla="*/ 0 h 3674853"/>
              <a:gd name="connsiteX2" fmla="*/ 3985405 w 7637254"/>
              <a:gd name="connsiteY2" fmla="*/ 3674853 h 3674853"/>
              <a:gd name="connsiteX3" fmla="*/ 11502 w 7637254"/>
              <a:gd name="connsiteY3" fmla="*/ 3358551 h 3674853"/>
              <a:gd name="connsiteX4" fmla="*/ 0 w 7637254"/>
              <a:gd name="connsiteY4" fmla="*/ 0 h 3674853"/>
              <a:gd name="connsiteX0" fmla="*/ 0 w 7637254"/>
              <a:gd name="connsiteY0" fmla="*/ 0 h 3674853"/>
              <a:gd name="connsiteX1" fmla="*/ 7637254 w 7637254"/>
              <a:gd name="connsiteY1" fmla="*/ 0 h 3674853"/>
              <a:gd name="connsiteX2" fmla="*/ 3985405 w 7637254"/>
              <a:gd name="connsiteY2" fmla="*/ 3674853 h 3674853"/>
              <a:gd name="connsiteX3" fmla="*/ 0 w 7637254"/>
              <a:gd name="connsiteY3" fmla="*/ 2927230 h 3674853"/>
              <a:gd name="connsiteX4" fmla="*/ 0 w 7637254"/>
              <a:gd name="connsiteY4" fmla="*/ 0 h 3674853"/>
              <a:gd name="connsiteX0" fmla="*/ 0 w 7637254"/>
              <a:gd name="connsiteY0" fmla="*/ 0 h 3674853"/>
              <a:gd name="connsiteX1" fmla="*/ 7637254 w 7637254"/>
              <a:gd name="connsiteY1" fmla="*/ 0 h 3674853"/>
              <a:gd name="connsiteX2" fmla="*/ 3985405 w 7637254"/>
              <a:gd name="connsiteY2" fmla="*/ 3674853 h 3674853"/>
              <a:gd name="connsiteX3" fmla="*/ 0 w 7637254"/>
              <a:gd name="connsiteY3" fmla="*/ 3220528 h 3674853"/>
              <a:gd name="connsiteX4" fmla="*/ 0 w 7637254"/>
              <a:gd name="connsiteY4" fmla="*/ 0 h 3674853"/>
              <a:gd name="connsiteX0" fmla="*/ 0 w 7637254"/>
              <a:gd name="connsiteY0" fmla="*/ 0 h 3709671"/>
              <a:gd name="connsiteX1" fmla="*/ 7637254 w 7637254"/>
              <a:gd name="connsiteY1" fmla="*/ 0 h 3709671"/>
              <a:gd name="connsiteX2" fmla="*/ 3985405 w 7637254"/>
              <a:gd name="connsiteY2" fmla="*/ 3674853 h 3709671"/>
              <a:gd name="connsiteX3" fmla="*/ 0 w 7637254"/>
              <a:gd name="connsiteY3" fmla="*/ 3220528 h 3709671"/>
              <a:gd name="connsiteX4" fmla="*/ 0 w 7637254"/>
              <a:gd name="connsiteY4" fmla="*/ 0 h 3709671"/>
              <a:gd name="connsiteX0" fmla="*/ 0 w 7637254"/>
              <a:gd name="connsiteY0" fmla="*/ 0 h 3851364"/>
              <a:gd name="connsiteX1" fmla="*/ 7637254 w 7637254"/>
              <a:gd name="connsiteY1" fmla="*/ 0 h 3851364"/>
              <a:gd name="connsiteX2" fmla="*/ 3985405 w 7637254"/>
              <a:gd name="connsiteY2" fmla="*/ 3674853 h 3851364"/>
              <a:gd name="connsiteX3" fmla="*/ 0 w 7637254"/>
              <a:gd name="connsiteY3" fmla="*/ 3220528 h 3851364"/>
              <a:gd name="connsiteX4" fmla="*/ 0 w 7637254"/>
              <a:gd name="connsiteY4" fmla="*/ 0 h 3851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37254" h="3851364">
                <a:moveTo>
                  <a:pt x="0" y="0"/>
                </a:moveTo>
                <a:lnTo>
                  <a:pt x="7637254" y="0"/>
                </a:lnTo>
                <a:cubicBezTo>
                  <a:pt x="7351624" y="580845"/>
                  <a:pt x="6416137" y="2932981"/>
                  <a:pt x="3985405" y="3674853"/>
                </a:cubicBezTo>
                <a:cubicBezTo>
                  <a:pt x="3283790" y="3885721"/>
                  <a:pt x="1719532" y="4067834"/>
                  <a:pt x="0" y="3220528"/>
                </a:cubicBez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9" name="Plassholder for bilde 14">
            <a:extLst>
              <a:ext uri="{FF2B5EF4-FFF2-40B4-BE49-F238E27FC236}">
                <a16:creationId xmlns:a16="http://schemas.microsoft.com/office/drawing/2014/main" id="{CFF86548-7C12-4F4F-8A1C-AF4103E6089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20885" y="3102573"/>
            <a:ext cx="12233769" cy="3755427"/>
          </a:xfrm>
          <a:custGeom>
            <a:avLst/>
            <a:gdLst>
              <a:gd name="connsiteX0" fmla="*/ 0 w 12192000"/>
              <a:gd name="connsiteY0" fmla="*/ 1886558 h 3773115"/>
              <a:gd name="connsiteX1" fmla="*/ 6096000 w 12192000"/>
              <a:gd name="connsiteY1" fmla="*/ 0 h 3773115"/>
              <a:gd name="connsiteX2" fmla="*/ 12192000 w 12192000"/>
              <a:gd name="connsiteY2" fmla="*/ 1886558 h 3773115"/>
              <a:gd name="connsiteX3" fmla="*/ 6096000 w 12192000"/>
              <a:gd name="connsiteY3" fmla="*/ 3773116 h 3773115"/>
              <a:gd name="connsiteX4" fmla="*/ 0 w 12192000"/>
              <a:gd name="connsiteY4" fmla="*/ 1886558 h 3773115"/>
              <a:gd name="connsiteX0" fmla="*/ 0 w 12220575"/>
              <a:gd name="connsiteY0" fmla="*/ 1936440 h 4323461"/>
              <a:gd name="connsiteX1" fmla="*/ 6096000 w 12220575"/>
              <a:gd name="connsiteY1" fmla="*/ 49882 h 4323461"/>
              <a:gd name="connsiteX2" fmla="*/ 12220575 w 12220575"/>
              <a:gd name="connsiteY2" fmla="*/ 3765240 h 4323461"/>
              <a:gd name="connsiteX3" fmla="*/ 6096000 w 12220575"/>
              <a:gd name="connsiteY3" fmla="*/ 3822998 h 4323461"/>
              <a:gd name="connsiteX4" fmla="*/ 0 w 12220575"/>
              <a:gd name="connsiteY4" fmla="*/ 1936440 h 4323461"/>
              <a:gd name="connsiteX0" fmla="*/ 0 w 12220575"/>
              <a:gd name="connsiteY0" fmla="*/ 1936440 h 3959138"/>
              <a:gd name="connsiteX1" fmla="*/ 6096000 w 12220575"/>
              <a:gd name="connsiteY1" fmla="*/ 49882 h 3959138"/>
              <a:gd name="connsiteX2" fmla="*/ 12220575 w 12220575"/>
              <a:gd name="connsiteY2" fmla="*/ 3765240 h 3959138"/>
              <a:gd name="connsiteX3" fmla="*/ 6096000 w 12220575"/>
              <a:gd name="connsiteY3" fmla="*/ 3822998 h 3959138"/>
              <a:gd name="connsiteX4" fmla="*/ 0 w 12220575"/>
              <a:gd name="connsiteY4" fmla="*/ 1936440 h 3959138"/>
              <a:gd name="connsiteX0" fmla="*/ 0 w 12292012"/>
              <a:gd name="connsiteY0" fmla="*/ 1938973 h 3982031"/>
              <a:gd name="connsiteX1" fmla="*/ 6096000 w 12292012"/>
              <a:gd name="connsiteY1" fmla="*/ 52415 h 3982031"/>
              <a:gd name="connsiteX2" fmla="*/ 12292012 w 12292012"/>
              <a:gd name="connsiteY2" fmla="*/ 3824923 h 3982031"/>
              <a:gd name="connsiteX3" fmla="*/ 6096000 w 12292012"/>
              <a:gd name="connsiteY3" fmla="*/ 3825531 h 3982031"/>
              <a:gd name="connsiteX4" fmla="*/ 0 w 12292012"/>
              <a:gd name="connsiteY4" fmla="*/ 1938973 h 3982031"/>
              <a:gd name="connsiteX0" fmla="*/ 0 w 12292012"/>
              <a:gd name="connsiteY0" fmla="*/ 1938973 h 3982031"/>
              <a:gd name="connsiteX1" fmla="*/ 6096000 w 12292012"/>
              <a:gd name="connsiteY1" fmla="*/ 52415 h 3982031"/>
              <a:gd name="connsiteX2" fmla="*/ 12292012 w 12292012"/>
              <a:gd name="connsiteY2" fmla="*/ 3824923 h 3982031"/>
              <a:gd name="connsiteX3" fmla="*/ 6096000 w 12292012"/>
              <a:gd name="connsiteY3" fmla="*/ 3825531 h 3982031"/>
              <a:gd name="connsiteX4" fmla="*/ 0 w 12292012"/>
              <a:gd name="connsiteY4" fmla="*/ 1938973 h 3982031"/>
              <a:gd name="connsiteX0" fmla="*/ 132341 w 13244297"/>
              <a:gd name="connsiteY0" fmla="*/ 1634172 h 3677230"/>
              <a:gd name="connsiteX1" fmla="*/ 12300528 w 13244297"/>
              <a:gd name="connsiteY1" fmla="*/ 47651 h 3677230"/>
              <a:gd name="connsiteX2" fmla="*/ 12424353 w 13244297"/>
              <a:gd name="connsiteY2" fmla="*/ 3520122 h 3677230"/>
              <a:gd name="connsiteX3" fmla="*/ 6228341 w 13244297"/>
              <a:gd name="connsiteY3" fmla="*/ 3520730 h 3677230"/>
              <a:gd name="connsiteX4" fmla="*/ 132341 w 13244297"/>
              <a:gd name="connsiteY4" fmla="*/ 1634172 h 3677230"/>
              <a:gd name="connsiteX0" fmla="*/ 132341 w 12424353"/>
              <a:gd name="connsiteY0" fmla="*/ 1634172 h 3677230"/>
              <a:gd name="connsiteX1" fmla="*/ 12300528 w 12424353"/>
              <a:gd name="connsiteY1" fmla="*/ 47651 h 3677230"/>
              <a:gd name="connsiteX2" fmla="*/ 12424353 w 12424353"/>
              <a:gd name="connsiteY2" fmla="*/ 3520122 h 3677230"/>
              <a:gd name="connsiteX3" fmla="*/ 6228341 w 12424353"/>
              <a:gd name="connsiteY3" fmla="*/ 3520730 h 3677230"/>
              <a:gd name="connsiteX4" fmla="*/ 132341 w 12424353"/>
              <a:gd name="connsiteY4" fmla="*/ 1634172 h 3677230"/>
              <a:gd name="connsiteX0" fmla="*/ 131877 w 12352126"/>
              <a:gd name="connsiteY0" fmla="*/ 1634172 h 3682849"/>
              <a:gd name="connsiteX1" fmla="*/ 12300064 w 12352126"/>
              <a:gd name="connsiteY1" fmla="*/ 47651 h 3682849"/>
              <a:gd name="connsiteX2" fmla="*/ 12295302 w 12352126"/>
              <a:gd name="connsiteY2" fmla="*/ 3534409 h 3682849"/>
              <a:gd name="connsiteX3" fmla="*/ 6227877 w 12352126"/>
              <a:gd name="connsiteY3" fmla="*/ 3520730 h 3682849"/>
              <a:gd name="connsiteX4" fmla="*/ 131877 w 12352126"/>
              <a:gd name="connsiteY4" fmla="*/ 1634172 h 3682849"/>
              <a:gd name="connsiteX0" fmla="*/ 131877 w 12300064"/>
              <a:gd name="connsiteY0" fmla="*/ 1634172 h 3682849"/>
              <a:gd name="connsiteX1" fmla="*/ 12300064 w 12300064"/>
              <a:gd name="connsiteY1" fmla="*/ 47651 h 3682849"/>
              <a:gd name="connsiteX2" fmla="*/ 12295302 w 12300064"/>
              <a:gd name="connsiteY2" fmla="*/ 3534409 h 3682849"/>
              <a:gd name="connsiteX3" fmla="*/ 6227877 w 12300064"/>
              <a:gd name="connsiteY3" fmla="*/ 3520730 h 3682849"/>
              <a:gd name="connsiteX4" fmla="*/ 131877 w 12300064"/>
              <a:gd name="connsiteY4" fmla="*/ 1634172 h 3682849"/>
              <a:gd name="connsiteX0" fmla="*/ 128994 w 12454344"/>
              <a:gd name="connsiteY0" fmla="*/ 2884427 h 3571942"/>
              <a:gd name="connsiteX1" fmla="*/ 12454344 w 12454344"/>
              <a:gd name="connsiteY1" fmla="*/ 26319 h 3571942"/>
              <a:gd name="connsiteX2" fmla="*/ 12449582 w 12454344"/>
              <a:gd name="connsiteY2" fmla="*/ 3513077 h 3571942"/>
              <a:gd name="connsiteX3" fmla="*/ 6382157 w 12454344"/>
              <a:gd name="connsiteY3" fmla="*/ 3499398 h 3571942"/>
              <a:gd name="connsiteX4" fmla="*/ 128994 w 12454344"/>
              <a:gd name="connsiteY4" fmla="*/ 2884427 h 3571942"/>
              <a:gd name="connsiteX0" fmla="*/ 128994 w 12454344"/>
              <a:gd name="connsiteY0" fmla="*/ 3115890 h 3803405"/>
              <a:gd name="connsiteX1" fmla="*/ 12454344 w 12454344"/>
              <a:gd name="connsiteY1" fmla="*/ 257782 h 3803405"/>
              <a:gd name="connsiteX2" fmla="*/ 12449582 w 12454344"/>
              <a:gd name="connsiteY2" fmla="*/ 3744540 h 3803405"/>
              <a:gd name="connsiteX3" fmla="*/ 6382157 w 12454344"/>
              <a:gd name="connsiteY3" fmla="*/ 3730861 h 3803405"/>
              <a:gd name="connsiteX4" fmla="*/ 128994 w 12454344"/>
              <a:gd name="connsiteY4" fmla="*/ 3115890 h 3803405"/>
              <a:gd name="connsiteX0" fmla="*/ 994239 w 13319589"/>
              <a:gd name="connsiteY0" fmla="*/ 3115890 h 3803405"/>
              <a:gd name="connsiteX1" fmla="*/ 13319589 w 13319589"/>
              <a:gd name="connsiteY1" fmla="*/ 257782 h 3803405"/>
              <a:gd name="connsiteX2" fmla="*/ 13314827 w 13319589"/>
              <a:gd name="connsiteY2" fmla="*/ 3744540 h 3803405"/>
              <a:gd name="connsiteX3" fmla="*/ 7247402 w 13319589"/>
              <a:gd name="connsiteY3" fmla="*/ 3730861 h 3803405"/>
              <a:gd name="connsiteX4" fmla="*/ 1465725 w 13319589"/>
              <a:gd name="connsiteY4" fmla="*/ 3493834 h 3803405"/>
              <a:gd name="connsiteX5" fmla="*/ 994239 w 13319589"/>
              <a:gd name="connsiteY5" fmla="*/ 3115890 h 3803405"/>
              <a:gd name="connsiteX0" fmla="*/ 1124735 w 13450085"/>
              <a:gd name="connsiteY0" fmla="*/ 3115890 h 3773776"/>
              <a:gd name="connsiteX1" fmla="*/ 13450085 w 13450085"/>
              <a:gd name="connsiteY1" fmla="*/ 257782 h 3773776"/>
              <a:gd name="connsiteX2" fmla="*/ 13445323 w 13450085"/>
              <a:gd name="connsiteY2" fmla="*/ 3744540 h 3773776"/>
              <a:gd name="connsiteX3" fmla="*/ 7377898 w 13450085"/>
              <a:gd name="connsiteY3" fmla="*/ 3730861 h 3773776"/>
              <a:gd name="connsiteX4" fmla="*/ 1210458 w 13450085"/>
              <a:gd name="connsiteY4" fmla="*/ 3708146 h 3773776"/>
              <a:gd name="connsiteX5" fmla="*/ 1124735 w 13450085"/>
              <a:gd name="connsiteY5" fmla="*/ 3115890 h 3773776"/>
              <a:gd name="connsiteX0" fmla="*/ 871618 w 13196968"/>
              <a:gd name="connsiteY0" fmla="*/ 3115890 h 3773776"/>
              <a:gd name="connsiteX1" fmla="*/ 13196968 w 13196968"/>
              <a:gd name="connsiteY1" fmla="*/ 257782 h 3773776"/>
              <a:gd name="connsiteX2" fmla="*/ 13192206 w 13196968"/>
              <a:gd name="connsiteY2" fmla="*/ 3744540 h 3773776"/>
              <a:gd name="connsiteX3" fmla="*/ 7124781 w 13196968"/>
              <a:gd name="connsiteY3" fmla="*/ 3730861 h 3773776"/>
              <a:gd name="connsiteX4" fmla="*/ 957341 w 13196968"/>
              <a:gd name="connsiteY4" fmla="*/ 3708146 h 3773776"/>
              <a:gd name="connsiteX5" fmla="*/ 871618 w 13196968"/>
              <a:gd name="connsiteY5" fmla="*/ 3115890 h 3773776"/>
              <a:gd name="connsiteX0" fmla="*/ 0 w 12325350"/>
              <a:gd name="connsiteY0" fmla="*/ 3115890 h 3773776"/>
              <a:gd name="connsiteX1" fmla="*/ 12325350 w 12325350"/>
              <a:gd name="connsiteY1" fmla="*/ 257782 h 3773776"/>
              <a:gd name="connsiteX2" fmla="*/ 12320588 w 12325350"/>
              <a:gd name="connsiteY2" fmla="*/ 3744540 h 3773776"/>
              <a:gd name="connsiteX3" fmla="*/ 6253163 w 12325350"/>
              <a:gd name="connsiteY3" fmla="*/ 3730861 h 3773776"/>
              <a:gd name="connsiteX4" fmla="*/ 85723 w 12325350"/>
              <a:gd name="connsiteY4" fmla="*/ 3708146 h 3773776"/>
              <a:gd name="connsiteX5" fmla="*/ 0 w 12325350"/>
              <a:gd name="connsiteY5" fmla="*/ 3115890 h 3773776"/>
              <a:gd name="connsiteX0" fmla="*/ 0 w 12296775"/>
              <a:gd name="connsiteY0" fmla="*/ 3115890 h 3773776"/>
              <a:gd name="connsiteX1" fmla="*/ 12296775 w 12296775"/>
              <a:gd name="connsiteY1" fmla="*/ 257782 h 3773776"/>
              <a:gd name="connsiteX2" fmla="*/ 12292013 w 12296775"/>
              <a:gd name="connsiteY2" fmla="*/ 3744540 h 3773776"/>
              <a:gd name="connsiteX3" fmla="*/ 6224588 w 12296775"/>
              <a:gd name="connsiteY3" fmla="*/ 3730861 h 3773776"/>
              <a:gd name="connsiteX4" fmla="*/ 57148 w 12296775"/>
              <a:gd name="connsiteY4" fmla="*/ 3708146 h 3773776"/>
              <a:gd name="connsiteX5" fmla="*/ 0 w 12296775"/>
              <a:gd name="connsiteY5" fmla="*/ 3115890 h 3773776"/>
              <a:gd name="connsiteX0" fmla="*/ 15396 w 12312171"/>
              <a:gd name="connsiteY0" fmla="*/ 3115890 h 3773776"/>
              <a:gd name="connsiteX1" fmla="*/ 12312171 w 12312171"/>
              <a:gd name="connsiteY1" fmla="*/ 257782 h 3773776"/>
              <a:gd name="connsiteX2" fmla="*/ 12307409 w 12312171"/>
              <a:gd name="connsiteY2" fmla="*/ 3744540 h 3773776"/>
              <a:gd name="connsiteX3" fmla="*/ 6239984 w 12312171"/>
              <a:gd name="connsiteY3" fmla="*/ 3730861 h 3773776"/>
              <a:gd name="connsiteX4" fmla="*/ 72544 w 12312171"/>
              <a:gd name="connsiteY4" fmla="*/ 3708146 h 3773776"/>
              <a:gd name="connsiteX5" fmla="*/ 15396 w 12312171"/>
              <a:gd name="connsiteY5" fmla="*/ 3115890 h 3773776"/>
              <a:gd name="connsiteX0" fmla="*/ 19371 w 12316146"/>
              <a:gd name="connsiteY0" fmla="*/ 3115890 h 3792066"/>
              <a:gd name="connsiteX1" fmla="*/ 12316146 w 12316146"/>
              <a:gd name="connsiteY1" fmla="*/ 257782 h 3792066"/>
              <a:gd name="connsiteX2" fmla="*/ 12311384 w 12316146"/>
              <a:gd name="connsiteY2" fmla="*/ 3744540 h 3792066"/>
              <a:gd name="connsiteX3" fmla="*/ 6243959 w 12316146"/>
              <a:gd name="connsiteY3" fmla="*/ 3730861 h 3792066"/>
              <a:gd name="connsiteX4" fmla="*/ 62231 w 12316146"/>
              <a:gd name="connsiteY4" fmla="*/ 3751009 h 3792066"/>
              <a:gd name="connsiteX5" fmla="*/ 19371 w 12316146"/>
              <a:gd name="connsiteY5" fmla="*/ 3115890 h 3792066"/>
              <a:gd name="connsiteX0" fmla="*/ 19371 w 12316146"/>
              <a:gd name="connsiteY0" fmla="*/ 3115890 h 3772425"/>
              <a:gd name="connsiteX1" fmla="*/ 12316146 w 12316146"/>
              <a:gd name="connsiteY1" fmla="*/ 257782 h 3772425"/>
              <a:gd name="connsiteX2" fmla="*/ 12311384 w 12316146"/>
              <a:gd name="connsiteY2" fmla="*/ 3744540 h 3772425"/>
              <a:gd name="connsiteX3" fmla="*/ 6243959 w 12316146"/>
              <a:gd name="connsiteY3" fmla="*/ 3730861 h 3772425"/>
              <a:gd name="connsiteX4" fmla="*/ 62231 w 12316146"/>
              <a:gd name="connsiteY4" fmla="*/ 3751009 h 3772425"/>
              <a:gd name="connsiteX5" fmla="*/ 19371 w 12316146"/>
              <a:gd name="connsiteY5" fmla="*/ 3115890 h 3772425"/>
              <a:gd name="connsiteX0" fmla="*/ 13149 w 12334976"/>
              <a:gd name="connsiteY0" fmla="*/ 3134285 h 3765768"/>
              <a:gd name="connsiteX1" fmla="*/ 12334976 w 12334976"/>
              <a:gd name="connsiteY1" fmla="*/ 251125 h 3765768"/>
              <a:gd name="connsiteX2" fmla="*/ 12330214 w 12334976"/>
              <a:gd name="connsiteY2" fmla="*/ 3737883 h 3765768"/>
              <a:gd name="connsiteX3" fmla="*/ 6262789 w 12334976"/>
              <a:gd name="connsiteY3" fmla="*/ 3724204 h 3765768"/>
              <a:gd name="connsiteX4" fmla="*/ 81061 w 12334976"/>
              <a:gd name="connsiteY4" fmla="*/ 3744352 h 3765768"/>
              <a:gd name="connsiteX5" fmla="*/ 13149 w 12334976"/>
              <a:gd name="connsiteY5" fmla="*/ 3134285 h 3765768"/>
              <a:gd name="connsiteX0" fmla="*/ 36715 w 12358542"/>
              <a:gd name="connsiteY0" fmla="*/ 3134285 h 3765768"/>
              <a:gd name="connsiteX1" fmla="*/ 12358542 w 12358542"/>
              <a:gd name="connsiteY1" fmla="*/ 251125 h 3765768"/>
              <a:gd name="connsiteX2" fmla="*/ 12353780 w 12358542"/>
              <a:gd name="connsiteY2" fmla="*/ 3737883 h 3765768"/>
              <a:gd name="connsiteX3" fmla="*/ 6286355 w 12358542"/>
              <a:gd name="connsiteY3" fmla="*/ 3724204 h 3765768"/>
              <a:gd name="connsiteX4" fmla="*/ 41997 w 12358542"/>
              <a:gd name="connsiteY4" fmla="*/ 3750615 h 3765768"/>
              <a:gd name="connsiteX5" fmla="*/ 36715 w 12358542"/>
              <a:gd name="connsiteY5" fmla="*/ 3134285 h 3765768"/>
              <a:gd name="connsiteX0" fmla="*/ 16398 w 12338225"/>
              <a:gd name="connsiteY0" fmla="*/ 3134285 h 3765768"/>
              <a:gd name="connsiteX1" fmla="*/ 12338225 w 12338225"/>
              <a:gd name="connsiteY1" fmla="*/ 251125 h 3765768"/>
              <a:gd name="connsiteX2" fmla="*/ 12333463 w 12338225"/>
              <a:gd name="connsiteY2" fmla="*/ 3737883 h 3765768"/>
              <a:gd name="connsiteX3" fmla="*/ 6266038 w 12338225"/>
              <a:gd name="connsiteY3" fmla="*/ 3724204 h 3765768"/>
              <a:gd name="connsiteX4" fmla="*/ 21680 w 12338225"/>
              <a:gd name="connsiteY4" fmla="*/ 3750615 h 3765768"/>
              <a:gd name="connsiteX5" fmla="*/ 16398 w 12338225"/>
              <a:gd name="connsiteY5" fmla="*/ 3134285 h 3765768"/>
              <a:gd name="connsiteX0" fmla="*/ 12398 w 12334225"/>
              <a:gd name="connsiteY0" fmla="*/ 3134285 h 3765768"/>
              <a:gd name="connsiteX1" fmla="*/ 12334225 w 12334225"/>
              <a:gd name="connsiteY1" fmla="*/ 251125 h 3765768"/>
              <a:gd name="connsiteX2" fmla="*/ 12329463 w 12334225"/>
              <a:gd name="connsiteY2" fmla="*/ 3737883 h 3765768"/>
              <a:gd name="connsiteX3" fmla="*/ 6262038 w 12334225"/>
              <a:gd name="connsiteY3" fmla="*/ 3724204 h 3765768"/>
              <a:gd name="connsiteX4" fmla="*/ 17680 w 12334225"/>
              <a:gd name="connsiteY4" fmla="*/ 3750615 h 3765768"/>
              <a:gd name="connsiteX5" fmla="*/ 12398 w 12334225"/>
              <a:gd name="connsiteY5" fmla="*/ 3134285 h 3765768"/>
              <a:gd name="connsiteX0" fmla="*/ 0 w 12321827"/>
              <a:gd name="connsiteY0" fmla="*/ 3134285 h 3765768"/>
              <a:gd name="connsiteX1" fmla="*/ 12321827 w 12321827"/>
              <a:gd name="connsiteY1" fmla="*/ 251125 h 3765768"/>
              <a:gd name="connsiteX2" fmla="*/ 12317065 w 12321827"/>
              <a:gd name="connsiteY2" fmla="*/ 3737883 h 3765768"/>
              <a:gd name="connsiteX3" fmla="*/ 6249640 w 12321827"/>
              <a:gd name="connsiteY3" fmla="*/ 3724204 h 3765768"/>
              <a:gd name="connsiteX4" fmla="*/ 5282 w 12321827"/>
              <a:gd name="connsiteY4" fmla="*/ 3750615 h 3765768"/>
              <a:gd name="connsiteX5" fmla="*/ 0 w 12321827"/>
              <a:gd name="connsiteY5" fmla="*/ 3134285 h 3765768"/>
              <a:gd name="connsiteX0" fmla="*/ 96 w 12321923"/>
              <a:gd name="connsiteY0" fmla="*/ 3134285 h 3765768"/>
              <a:gd name="connsiteX1" fmla="*/ 12321923 w 12321923"/>
              <a:gd name="connsiteY1" fmla="*/ 251125 h 3765768"/>
              <a:gd name="connsiteX2" fmla="*/ 12317161 w 12321923"/>
              <a:gd name="connsiteY2" fmla="*/ 3737883 h 3765768"/>
              <a:gd name="connsiteX3" fmla="*/ 6249736 w 12321923"/>
              <a:gd name="connsiteY3" fmla="*/ 3724204 h 3765768"/>
              <a:gd name="connsiteX4" fmla="*/ 5378 w 12321923"/>
              <a:gd name="connsiteY4" fmla="*/ 3750615 h 3765768"/>
              <a:gd name="connsiteX5" fmla="*/ 96 w 12321923"/>
              <a:gd name="connsiteY5" fmla="*/ 3134285 h 3765768"/>
              <a:gd name="connsiteX0" fmla="*/ 96 w 12321923"/>
              <a:gd name="connsiteY0" fmla="*/ 3134285 h 3774180"/>
              <a:gd name="connsiteX1" fmla="*/ 12321923 w 12321923"/>
              <a:gd name="connsiteY1" fmla="*/ 251125 h 3774180"/>
              <a:gd name="connsiteX2" fmla="*/ 12317161 w 12321923"/>
              <a:gd name="connsiteY2" fmla="*/ 3737883 h 3774180"/>
              <a:gd name="connsiteX3" fmla="*/ 6255999 w 12321923"/>
              <a:gd name="connsiteY3" fmla="*/ 3755519 h 3774180"/>
              <a:gd name="connsiteX4" fmla="*/ 5378 w 12321923"/>
              <a:gd name="connsiteY4" fmla="*/ 3750615 h 3774180"/>
              <a:gd name="connsiteX5" fmla="*/ 96 w 12321923"/>
              <a:gd name="connsiteY5" fmla="*/ 3134285 h 3774180"/>
              <a:gd name="connsiteX0" fmla="*/ 96 w 12321923"/>
              <a:gd name="connsiteY0" fmla="*/ 3134285 h 3792314"/>
              <a:gd name="connsiteX1" fmla="*/ 12321923 w 12321923"/>
              <a:gd name="connsiteY1" fmla="*/ 251125 h 3792314"/>
              <a:gd name="connsiteX2" fmla="*/ 12247793 w 12321923"/>
              <a:gd name="connsiteY2" fmla="*/ 3763108 h 3792314"/>
              <a:gd name="connsiteX3" fmla="*/ 6255999 w 12321923"/>
              <a:gd name="connsiteY3" fmla="*/ 3755519 h 3792314"/>
              <a:gd name="connsiteX4" fmla="*/ 5378 w 12321923"/>
              <a:gd name="connsiteY4" fmla="*/ 3750615 h 3792314"/>
              <a:gd name="connsiteX5" fmla="*/ 96 w 12321923"/>
              <a:gd name="connsiteY5" fmla="*/ 3134285 h 3792314"/>
              <a:gd name="connsiteX0" fmla="*/ 96 w 12321923"/>
              <a:gd name="connsiteY0" fmla="*/ 3134285 h 3778416"/>
              <a:gd name="connsiteX1" fmla="*/ 12321923 w 12321923"/>
              <a:gd name="connsiteY1" fmla="*/ 251125 h 3778416"/>
              <a:gd name="connsiteX2" fmla="*/ 12209956 w 12321923"/>
              <a:gd name="connsiteY2" fmla="*/ 3744189 h 3778416"/>
              <a:gd name="connsiteX3" fmla="*/ 6255999 w 12321923"/>
              <a:gd name="connsiteY3" fmla="*/ 3755519 h 3778416"/>
              <a:gd name="connsiteX4" fmla="*/ 5378 w 12321923"/>
              <a:gd name="connsiteY4" fmla="*/ 3750615 h 3778416"/>
              <a:gd name="connsiteX5" fmla="*/ 96 w 12321923"/>
              <a:gd name="connsiteY5" fmla="*/ 3134285 h 3778416"/>
              <a:gd name="connsiteX0" fmla="*/ 96 w 12321923"/>
              <a:gd name="connsiteY0" fmla="*/ 3134285 h 3756932"/>
              <a:gd name="connsiteX1" fmla="*/ 12321923 w 12321923"/>
              <a:gd name="connsiteY1" fmla="*/ 251125 h 3756932"/>
              <a:gd name="connsiteX2" fmla="*/ 12209956 w 12321923"/>
              <a:gd name="connsiteY2" fmla="*/ 3744189 h 3756932"/>
              <a:gd name="connsiteX3" fmla="*/ 6255999 w 12321923"/>
              <a:gd name="connsiteY3" fmla="*/ 3755519 h 3756932"/>
              <a:gd name="connsiteX4" fmla="*/ 5378 w 12321923"/>
              <a:gd name="connsiteY4" fmla="*/ 3750615 h 3756932"/>
              <a:gd name="connsiteX5" fmla="*/ 96 w 12321923"/>
              <a:gd name="connsiteY5" fmla="*/ 3134285 h 3756932"/>
              <a:gd name="connsiteX0" fmla="*/ 96 w 12233636"/>
              <a:gd name="connsiteY0" fmla="*/ 3101972 h 3724619"/>
              <a:gd name="connsiteX1" fmla="*/ 12233636 w 12233636"/>
              <a:gd name="connsiteY1" fmla="*/ 262955 h 3724619"/>
              <a:gd name="connsiteX2" fmla="*/ 12209956 w 12233636"/>
              <a:gd name="connsiteY2" fmla="*/ 3711876 h 3724619"/>
              <a:gd name="connsiteX3" fmla="*/ 6255999 w 12233636"/>
              <a:gd name="connsiteY3" fmla="*/ 3723206 h 3724619"/>
              <a:gd name="connsiteX4" fmla="*/ 5378 w 12233636"/>
              <a:gd name="connsiteY4" fmla="*/ 3718302 h 3724619"/>
              <a:gd name="connsiteX5" fmla="*/ 96 w 12233636"/>
              <a:gd name="connsiteY5" fmla="*/ 3101972 h 3724619"/>
              <a:gd name="connsiteX0" fmla="*/ 96 w 12233769"/>
              <a:gd name="connsiteY0" fmla="*/ 3101972 h 3724619"/>
              <a:gd name="connsiteX1" fmla="*/ 12233636 w 12233769"/>
              <a:gd name="connsiteY1" fmla="*/ 262955 h 3724619"/>
              <a:gd name="connsiteX2" fmla="*/ 12209956 w 12233769"/>
              <a:gd name="connsiteY2" fmla="*/ 3711876 h 3724619"/>
              <a:gd name="connsiteX3" fmla="*/ 6255999 w 12233769"/>
              <a:gd name="connsiteY3" fmla="*/ 3723206 h 3724619"/>
              <a:gd name="connsiteX4" fmla="*/ 5378 w 12233769"/>
              <a:gd name="connsiteY4" fmla="*/ 3718302 h 3724619"/>
              <a:gd name="connsiteX5" fmla="*/ 96 w 12233769"/>
              <a:gd name="connsiteY5" fmla="*/ 3101972 h 3724619"/>
              <a:gd name="connsiteX0" fmla="*/ 96 w 12233769"/>
              <a:gd name="connsiteY0" fmla="*/ 3132780 h 3755427"/>
              <a:gd name="connsiteX1" fmla="*/ 12233636 w 12233769"/>
              <a:gd name="connsiteY1" fmla="*/ 293763 h 3755427"/>
              <a:gd name="connsiteX2" fmla="*/ 12209956 w 12233769"/>
              <a:gd name="connsiteY2" fmla="*/ 3742684 h 3755427"/>
              <a:gd name="connsiteX3" fmla="*/ 6255999 w 12233769"/>
              <a:gd name="connsiteY3" fmla="*/ 3754014 h 3755427"/>
              <a:gd name="connsiteX4" fmla="*/ 5378 w 12233769"/>
              <a:gd name="connsiteY4" fmla="*/ 3749110 h 3755427"/>
              <a:gd name="connsiteX5" fmla="*/ 96 w 12233769"/>
              <a:gd name="connsiteY5" fmla="*/ 3132780 h 3755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33769" h="3755427">
                <a:moveTo>
                  <a:pt x="96" y="3132780"/>
                </a:moveTo>
                <a:cubicBezTo>
                  <a:pt x="4841177" y="-732191"/>
                  <a:pt x="10248029" y="-89930"/>
                  <a:pt x="12233636" y="293763"/>
                </a:cubicBezTo>
                <a:cubicBezTo>
                  <a:pt x="12235843" y="407670"/>
                  <a:pt x="12209956" y="1672067"/>
                  <a:pt x="12209956" y="3742684"/>
                </a:cubicBezTo>
                <a:cubicBezTo>
                  <a:pt x="12142952" y="3762601"/>
                  <a:pt x="8297524" y="3752936"/>
                  <a:pt x="6255999" y="3754014"/>
                </a:cubicBezTo>
                <a:lnTo>
                  <a:pt x="5378" y="3749110"/>
                </a:lnTo>
                <a:cubicBezTo>
                  <a:pt x="9890" y="3433868"/>
                  <a:pt x="-1133" y="3382654"/>
                  <a:pt x="96" y="313278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velge nytt bilde fra fil, eller dra bilde over i plassholder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B92CDF9-DE82-0E43-9833-C44C8FE8A14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9007" y="360000"/>
            <a:ext cx="11095200" cy="2387600"/>
          </a:xfrm>
        </p:spPr>
        <p:txBody>
          <a:bodyPr anchor="b" anchorCtr="0">
            <a:normAutofit/>
          </a:bodyPr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nb-NO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AD6A55A-1A30-1B4C-B3FC-7D1F5CBA80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9007" y="2880000"/>
            <a:ext cx="11095199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1" name="Picture 13">
            <a:extLst>
              <a:ext uri="{FF2B5EF4-FFF2-40B4-BE49-F238E27FC236}">
                <a16:creationId xmlns:a16="http://schemas.microsoft.com/office/drawing/2014/main" id="{B4971C40-F366-EA4C-8894-DB819E00AC0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2484" y="555571"/>
            <a:ext cx="1029182" cy="292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962476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A">
    <p:bg>
      <p:bgPr>
        <a:solidFill>
          <a:srgbClr val="DBF0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object&#10;&#10;Description automatically generated">
            <a:extLst>
              <a:ext uri="{FF2B5EF4-FFF2-40B4-BE49-F238E27FC236}">
                <a16:creationId xmlns:a16="http://schemas.microsoft.com/office/drawing/2014/main" id="{61483A7C-6373-6E4D-9C55-AF664B1166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B92CDF9-DE82-0E43-9833-C44C8FE8A14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9007" y="360000"/>
            <a:ext cx="11095200" cy="2387600"/>
          </a:xfrm>
        </p:spPr>
        <p:txBody>
          <a:bodyPr anchor="b" anchorCtr="0">
            <a:normAutofit/>
          </a:bodyPr>
          <a:lstStyle>
            <a:lvl1pPr algn="l">
              <a:defRPr sz="54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AD6A55A-1A30-1B4C-B3FC-7D1F5CBA80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9007" y="2880000"/>
            <a:ext cx="11095199" cy="1655762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674748-8D86-234F-B56F-31E4FDACBC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3366"/>
                </a:solidFill>
              </a:defRPr>
            </a:lvl1pPr>
          </a:lstStyle>
          <a:p>
            <a:fld id="{E0C8295B-ECCB-3D4F-83EA-DEA1C3E36753}" type="datetime1">
              <a:rPr lang="nb-NO" smtClean="0"/>
              <a:t>07.05.2021</a:t>
            </a:fld>
            <a:endParaRPr lang="nb-NO" dirty="0"/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id="{821D89E2-5124-FE41-BC1E-3F20A7BC9CC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613810" y="6392441"/>
            <a:ext cx="1029182" cy="292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86162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A - with image">
    <p:bg>
      <p:bgPr>
        <a:solidFill>
          <a:srgbClr val="DBF0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object&#10;&#10;Description automatically generated">
            <a:extLst>
              <a:ext uri="{FF2B5EF4-FFF2-40B4-BE49-F238E27FC236}">
                <a16:creationId xmlns:a16="http://schemas.microsoft.com/office/drawing/2014/main" id="{61483A7C-6373-6E4D-9C55-AF664B1166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Plassholder for bilde 14">
            <a:extLst>
              <a:ext uri="{FF2B5EF4-FFF2-40B4-BE49-F238E27FC236}">
                <a16:creationId xmlns:a16="http://schemas.microsoft.com/office/drawing/2014/main" id="{56FFFB2D-AD1C-F94E-9442-E72D9D16DE6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20885" y="3102573"/>
            <a:ext cx="12233769" cy="3755427"/>
          </a:xfrm>
          <a:custGeom>
            <a:avLst/>
            <a:gdLst>
              <a:gd name="connsiteX0" fmla="*/ 0 w 12192000"/>
              <a:gd name="connsiteY0" fmla="*/ 1886558 h 3773115"/>
              <a:gd name="connsiteX1" fmla="*/ 6096000 w 12192000"/>
              <a:gd name="connsiteY1" fmla="*/ 0 h 3773115"/>
              <a:gd name="connsiteX2" fmla="*/ 12192000 w 12192000"/>
              <a:gd name="connsiteY2" fmla="*/ 1886558 h 3773115"/>
              <a:gd name="connsiteX3" fmla="*/ 6096000 w 12192000"/>
              <a:gd name="connsiteY3" fmla="*/ 3773116 h 3773115"/>
              <a:gd name="connsiteX4" fmla="*/ 0 w 12192000"/>
              <a:gd name="connsiteY4" fmla="*/ 1886558 h 3773115"/>
              <a:gd name="connsiteX0" fmla="*/ 0 w 12220575"/>
              <a:gd name="connsiteY0" fmla="*/ 1936440 h 4323461"/>
              <a:gd name="connsiteX1" fmla="*/ 6096000 w 12220575"/>
              <a:gd name="connsiteY1" fmla="*/ 49882 h 4323461"/>
              <a:gd name="connsiteX2" fmla="*/ 12220575 w 12220575"/>
              <a:gd name="connsiteY2" fmla="*/ 3765240 h 4323461"/>
              <a:gd name="connsiteX3" fmla="*/ 6096000 w 12220575"/>
              <a:gd name="connsiteY3" fmla="*/ 3822998 h 4323461"/>
              <a:gd name="connsiteX4" fmla="*/ 0 w 12220575"/>
              <a:gd name="connsiteY4" fmla="*/ 1936440 h 4323461"/>
              <a:gd name="connsiteX0" fmla="*/ 0 w 12220575"/>
              <a:gd name="connsiteY0" fmla="*/ 1936440 h 3959138"/>
              <a:gd name="connsiteX1" fmla="*/ 6096000 w 12220575"/>
              <a:gd name="connsiteY1" fmla="*/ 49882 h 3959138"/>
              <a:gd name="connsiteX2" fmla="*/ 12220575 w 12220575"/>
              <a:gd name="connsiteY2" fmla="*/ 3765240 h 3959138"/>
              <a:gd name="connsiteX3" fmla="*/ 6096000 w 12220575"/>
              <a:gd name="connsiteY3" fmla="*/ 3822998 h 3959138"/>
              <a:gd name="connsiteX4" fmla="*/ 0 w 12220575"/>
              <a:gd name="connsiteY4" fmla="*/ 1936440 h 3959138"/>
              <a:gd name="connsiteX0" fmla="*/ 0 w 12292012"/>
              <a:gd name="connsiteY0" fmla="*/ 1938973 h 3982031"/>
              <a:gd name="connsiteX1" fmla="*/ 6096000 w 12292012"/>
              <a:gd name="connsiteY1" fmla="*/ 52415 h 3982031"/>
              <a:gd name="connsiteX2" fmla="*/ 12292012 w 12292012"/>
              <a:gd name="connsiteY2" fmla="*/ 3824923 h 3982031"/>
              <a:gd name="connsiteX3" fmla="*/ 6096000 w 12292012"/>
              <a:gd name="connsiteY3" fmla="*/ 3825531 h 3982031"/>
              <a:gd name="connsiteX4" fmla="*/ 0 w 12292012"/>
              <a:gd name="connsiteY4" fmla="*/ 1938973 h 3982031"/>
              <a:gd name="connsiteX0" fmla="*/ 0 w 12292012"/>
              <a:gd name="connsiteY0" fmla="*/ 1938973 h 3982031"/>
              <a:gd name="connsiteX1" fmla="*/ 6096000 w 12292012"/>
              <a:gd name="connsiteY1" fmla="*/ 52415 h 3982031"/>
              <a:gd name="connsiteX2" fmla="*/ 12292012 w 12292012"/>
              <a:gd name="connsiteY2" fmla="*/ 3824923 h 3982031"/>
              <a:gd name="connsiteX3" fmla="*/ 6096000 w 12292012"/>
              <a:gd name="connsiteY3" fmla="*/ 3825531 h 3982031"/>
              <a:gd name="connsiteX4" fmla="*/ 0 w 12292012"/>
              <a:gd name="connsiteY4" fmla="*/ 1938973 h 3982031"/>
              <a:gd name="connsiteX0" fmla="*/ 132341 w 13244297"/>
              <a:gd name="connsiteY0" fmla="*/ 1634172 h 3677230"/>
              <a:gd name="connsiteX1" fmla="*/ 12300528 w 13244297"/>
              <a:gd name="connsiteY1" fmla="*/ 47651 h 3677230"/>
              <a:gd name="connsiteX2" fmla="*/ 12424353 w 13244297"/>
              <a:gd name="connsiteY2" fmla="*/ 3520122 h 3677230"/>
              <a:gd name="connsiteX3" fmla="*/ 6228341 w 13244297"/>
              <a:gd name="connsiteY3" fmla="*/ 3520730 h 3677230"/>
              <a:gd name="connsiteX4" fmla="*/ 132341 w 13244297"/>
              <a:gd name="connsiteY4" fmla="*/ 1634172 h 3677230"/>
              <a:gd name="connsiteX0" fmla="*/ 132341 w 12424353"/>
              <a:gd name="connsiteY0" fmla="*/ 1634172 h 3677230"/>
              <a:gd name="connsiteX1" fmla="*/ 12300528 w 12424353"/>
              <a:gd name="connsiteY1" fmla="*/ 47651 h 3677230"/>
              <a:gd name="connsiteX2" fmla="*/ 12424353 w 12424353"/>
              <a:gd name="connsiteY2" fmla="*/ 3520122 h 3677230"/>
              <a:gd name="connsiteX3" fmla="*/ 6228341 w 12424353"/>
              <a:gd name="connsiteY3" fmla="*/ 3520730 h 3677230"/>
              <a:gd name="connsiteX4" fmla="*/ 132341 w 12424353"/>
              <a:gd name="connsiteY4" fmla="*/ 1634172 h 3677230"/>
              <a:gd name="connsiteX0" fmla="*/ 131877 w 12352126"/>
              <a:gd name="connsiteY0" fmla="*/ 1634172 h 3682849"/>
              <a:gd name="connsiteX1" fmla="*/ 12300064 w 12352126"/>
              <a:gd name="connsiteY1" fmla="*/ 47651 h 3682849"/>
              <a:gd name="connsiteX2" fmla="*/ 12295302 w 12352126"/>
              <a:gd name="connsiteY2" fmla="*/ 3534409 h 3682849"/>
              <a:gd name="connsiteX3" fmla="*/ 6227877 w 12352126"/>
              <a:gd name="connsiteY3" fmla="*/ 3520730 h 3682849"/>
              <a:gd name="connsiteX4" fmla="*/ 131877 w 12352126"/>
              <a:gd name="connsiteY4" fmla="*/ 1634172 h 3682849"/>
              <a:gd name="connsiteX0" fmla="*/ 131877 w 12300064"/>
              <a:gd name="connsiteY0" fmla="*/ 1634172 h 3682849"/>
              <a:gd name="connsiteX1" fmla="*/ 12300064 w 12300064"/>
              <a:gd name="connsiteY1" fmla="*/ 47651 h 3682849"/>
              <a:gd name="connsiteX2" fmla="*/ 12295302 w 12300064"/>
              <a:gd name="connsiteY2" fmla="*/ 3534409 h 3682849"/>
              <a:gd name="connsiteX3" fmla="*/ 6227877 w 12300064"/>
              <a:gd name="connsiteY3" fmla="*/ 3520730 h 3682849"/>
              <a:gd name="connsiteX4" fmla="*/ 131877 w 12300064"/>
              <a:gd name="connsiteY4" fmla="*/ 1634172 h 3682849"/>
              <a:gd name="connsiteX0" fmla="*/ 128994 w 12454344"/>
              <a:gd name="connsiteY0" fmla="*/ 2884427 h 3571942"/>
              <a:gd name="connsiteX1" fmla="*/ 12454344 w 12454344"/>
              <a:gd name="connsiteY1" fmla="*/ 26319 h 3571942"/>
              <a:gd name="connsiteX2" fmla="*/ 12449582 w 12454344"/>
              <a:gd name="connsiteY2" fmla="*/ 3513077 h 3571942"/>
              <a:gd name="connsiteX3" fmla="*/ 6382157 w 12454344"/>
              <a:gd name="connsiteY3" fmla="*/ 3499398 h 3571942"/>
              <a:gd name="connsiteX4" fmla="*/ 128994 w 12454344"/>
              <a:gd name="connsiteY4" fmla="*/ 2884427 h 3571942"/>
              <a:gd name="connsiteX0" fmla="*/ 128994 w 12454344"/>
              <a:gd name="connsiteY0" fmla="*/ 3115890 h 3803405"/>
              <a:gd name="connsiteX1" fmla="*/ 12454344 w 12454344"/>
              <a:gd name="connsiteY1" fmla="*/ 257782 h 3803405"/>
              <a:gd name="connsiteX2" fmla="*/ 12449582 w 12454344"/>
              <a:gd name="connsiteY2" fmla="*/ 3744540 h 3803405"/>
              <a:gd name="connsiteX3" fmla="*/ 6382157 w 12454344"/>
              <a:gd name="connsiteY3" fmla="*/ 3730861 h 3803405"/>
              <a:gd name="connsiteX4" fmla="*/ 128994 w 12454344"/>
              <a:gd name="connsiteY4" fmla="*/ 3115890 h 3803405"/>
              <a:gd name="connsiteX0" fmla="*/ 994239 w 13319589"/>
              <a:gd name="connsiteY0" fmla="*/ 3115890 h 3803405"/>
              <a:gd name="connsiteX1" fmla="*/ 13319589 w 13319589"/>
              <a:gd name="connsiteY1" fmla="*/ 257782 h 3803405"/>
              <a:gd name="connsiteX2" fmla="*/ 13314827 w 13319589"/>
              <a:gd name="connsiteY2" fmla="*/ 3744540 h 3803405"/>
              <a:gd name="connsiteX3" fmla="*/ 7247402 w 13319589"/>
              <a:gd name="connsiteY3" fmla="*/ 3730861 h 3803405"/>
              <a:gd name="connsiteX4" fmla="*/ 1465725 w 13319589"/>
              <a:gd name="connsiteY4" fmla="*/ 3493834 h 3803405"/>
              <a:gd name="connsiteX5" fmla="*/ 994239 w 13319589"/>
              <a:gd name="connsiteY5" fmla="*/ 3115890 h 3803405"/>
              <a:gd name="connsiteX0" fmla="*/ 1124735 w 13450085"/>
              <a:gd name="connsiteY0" fmla="*/ 3115890 h 3773776"/>
              <a:gd name="connsiteX1" fmla="*/ 13450085 w 13450085"/>
              <a:gd name="connsiteY1" fmla="*/ 257782 h 3773776"/>
              <a:gd name="connsiteX2" fmla="*/ 13445323 w 13450085"/>
              <a:gd name="connsiteY2" fmla="*/ 3744540 h 3773776"/>
              <a:gd name="connsiteX3" fmla="*/ 7377898 w 13450085"/>
              <a:gd name="connsiteY3" fmla="*/ 3730861 h 3773776"/>
              <a:gd name="connsiteX4" fmla="*/ 1210458 w 13450085"/>
              <a:gd name="connsiteY4" fmla="*/ 3708146 h 3773776"/>
              <a:gd name="connsiteX5" fmla="*/ 1124735 w 13450085"/>
              <a:gd name="connsiteY5" fmla="*/ 3115890 h 3773776"/>
              <a:gd name="connsiteX0" fmla="*/ 871618 w 13196968"/>
              <a:gd name="connsiteY0" fmla="*/ 3115890 h 3773776"/>
              <a:gd name="connsiteX1" fmla="*/ 13196968 w 13196968"/>
              <a:gd name="connsiteY1" fmla="*/ 257782 h 3773776"/>
              <a:gd name="connsiteX2" fmla="*/ 13192206 w 13196968"/>
              <a:gd name="connsiteY2" fmla="*/ 3744540 h 3773776"/>
              <a:gd name="connsiteX3" fmla="*/ 7124781 w 13196968"/>
              <a:gd name="connsiteY3" fmla="*/ 3730861 h 3773776"/>
              <a:gd name="connsiteX4" fmla="*/ 957341 w 13196968"/>
              <a:gd name="connsiteY4" fmla="*/ 3708146 h 3773776"/>
              <a:gd name="connsiteX5" fmla="*/ 871618 w 13196968"/>
              <a:gd name="connsiteY5" fmla="*/ 3115890 h 3773776"/>
              <a:gd name="connsiteX0" fmla="*/ 0 w 12325350"/>
              <a:gd name="connsiteY0" fmla="*/ 3115890 h 3773776"/>
              <a:gd name="connsiteX1" fmla="*/ 12325350 w 12325350"/>
              <a:gd name="connsiteY1" fmla="*/ 257782 h 3773776"/>
              <a:gd name="connsiteX2" fmla="*/ 12320588 w 12325350"/>
              <a:gd name="connsiteY2" fmla="*/ 3744540 h 3773776"/>
              <a:gd name="connsiteX3" fmla="*/ 6253163 w 12325350"/>
              <a:gd name="connsiteY3" fmla="*/ 3730861 h 3773776"/>
              <a:gd name="connsiteX4" fmla="*/ 85723 w 12325350"/>
              <a:gd name="connsiteY4" fmla="*/ 3708146 h 3773776"/>
              <a:gd name="connsiteX5" fmla="*/ 0 w 12325350"/>
              <a:gd name="connsiteY5" fmla="*/ 3115890 h 3773776"/>
              <a:gd name="connsiteX0" fmla="*/ 0 w 12296775"/>
              <a:gd name="connsiteY0" fmla="*/ 3115890 h 3773776"/>
              <a:gd name="connsiteX1" fmla="*/ 12296775 w 12296775"/>
              <a:gd name="connsiteY1" fmla="*/ 257782 h 3773776"/>
              <a:gd name="connsiteX2" fmla="*/ 12292013 w 12296775"/>
              <a:gd name="connsiteY2" fmla="*/ 3744540 h 3773776"/>
              <a:gd name="connsiteX3" fmla="*/ 6224588 w 12296775"/>
              <a:gd name="connsiteY3" fmla="*/ 3730861 h 3773776"/>
              <a:gd name="connsiteX4" fmla="*/ 57148 w 12296775"/>
              <a:gd name="connsiteY4" fmla="*/ 3708146 h 3773776"/>
              <a:gd name="connsiteX5" fmla="*/ 0 w 12296775"/>
              <a:gd name="connsiteY5" fmla="*/ 3115890 h 3773776"/>
              <a:gd name="connsiteX0" fmla="*/ 15396 w 12312171"/>
              <a:gd name="connsiteY0" fmla="*/ 3115890 h 3773776"/>
              <a:gd name="connsiteX1" fmla="*/ 12312171 w 12312171"/>
              <a:gd name="connsiteY1" fmla="*/ 257782 h 3773776"/>
              <a:gd name="connsiteX2" fmla="*/ 12307409 w 12312171"/>
              <a:gd name="connsiteY2" fmla="*/ 3744540 h 3773776"/>
              <a:gd name="connsiteX3" fmla="*/ 6239984 w 12312171"/>
              <a:gd name="connsiteY3" fmla="*/ 3730861 h 3773776"/>
              <a:gd name="connsiteX4" fmla="*/ 72544 w 12312171"/>
              <a:gd name="connsiteY4" fmla="*/ 3708146 h 3773776"/>
              <a:gd name="connsiteX5" fmla="*/ 15396 w 12312171"/>
              <a:gd name="connsiteY5" fmla="*/ 3115890 h 3773776"/>
              <a:gd name="connsiteX0" fmla="*/ 19371 w 12316146"/>
              <a:gd name="connsiteY0" fmla="*/ 3115890 h 3792066"/>
              <a:gd name="connsiteX1" fmla="*/ 12316146 w 12316146"/>
              <a:gd name="connsiteY1" fmla="*/ 257782 h 3792066"/>
              <a:gd name="connsiteX2" fmla="*/ 12311384 w 12316146"/>
              <a:gd name="connsiteY2" fmla="*/ 3744540 h 3792066"/>
              <a:gd name="connsiteX3" fmla="*/ 6243959 w 12316146"/>
              <a:gd name="connsiteY3" fmla="*/ 3730861 h 3792066"/>
              <a:gd name="connsiteX4" fmla="*/ 62231 w 12316146"/>
              <a:gd name="connsiteY4" fmla="*/ 3751009 h 3792066"/>
              <a:gd name="connsiteX5" fmla="*/ 19371 w 12316146"/>
              <a:gd name="connsiteY5" fmla="*/ 3115890 h 3792066"/>
              <a:gd name="connsiteX0" fmla="*/ 19371 w 12316146"/>
              <a:gd name="connsiteY0" fmla="*/ 3115890 h 3772425"/>
              <a:gd name="connsiteX1" fmla="*/ 12316146 w 12316146"/>
              <a:gd name="connsiteY1" fmla="*/ 257782 h 3772425"/>
              <a:gd name="connsiteX2" fmla="*/ 12311384 w 12316146"/>
              <a:gd name="connsiteY2" fmla="*/ 3744540 h 3772425"/>
              <a:gd name="connsiteX3" fmla="*/ 6243959 w 12316146"/>
              <a:gd name="connsiteY3" fmla="*/ 3730861 h 3772425"/>
              <a:gd name="connsiteX4" fmla="*/ 62231 w 12316146"/>
              <a:gd name="connsiteY4" fmla="*/ 3751009 h 3772425"/>
              <a:gd name="connsiteX5" fmla="*/ 19371 w 12316146"/>
              <a:gd name="connsiteY5" fmla="*/ 3115890 h 3772425"/>
              <a:gd name="connsiteX0" fmla="*/ 13149 w 12334976"/>
              <a:gd name="connsiteY0" fmla="*/ 3134285 h 3765768"/>
              <a:gd name="connsiteX1" fmla="*/ 12334976 w 12334976"/>
              <a:gd name="connsiteY1" fmla="*/ 251125 h 3765768"/>
              <a:gd name="connsiteX2" fmla="*/ 12330214 w 12334976"/>
              <a:gd name="connsiteY2" fmla="*/ 3737883 h 3765768"/>
              <a:gd name="connsiteX3" fmla="*/ 6262789 w 12334976"/>
              <a:gd name="connsiteY3" fmla="*/ 3724204 h 3765768"/>
              <a:gd name="connsiteX4" fmla="*/ 81061 w 12334976"/>
              <a:gd name="connsiteY4" fmla="*/ 3744352 h 3765768"/>
              <a:gd name="connsiteX5" fmla="*/ 13149 w 12334976"/>
              <a:gd name="connsiteY5" fmla="*/ 3134285 h 3765768"/>
              <a:gd name="connsiteX0" fmla="*/ 36715 w 12358542"/>
              <a:gd name="connsiteY0" fmla="*/ 3134285 h 3765768"/>
              <a:gd name="connsiteX1" fmla="*/ 12358542 w 12358542"/>
              <a:gd name="connsiteY1" fmla="*/ 251125 h 3765768"/>
              <a:gd name="connsiteX2" fmla="*/ 12353780 w 12358542"/>
              <a:gd name="connsiteY2" fmla="*/ 3737883 h 3765768"/>
              <a:gd name="connsiteX3" fmla="*/ 6286355 w 12358542"/>
              <a:gd name="connsiteY3" fmla="*/ 3724204 h 3765768"/>
              <a:gd name="connsiteX4" fmla="*/ 41997 w 12358542"/>
              <a:gd name="connsiteY4" fmla="*/ 3750615 h 3765768"/>
              <a:gd name="connsiteX5" fmla="*/ 36715 w 12358542"/>
              <a:gd name="connsiteY5" fmla="*/ 3134285 h 3765768"/>
              <a:gd name="connsiteX0" fmla="*/ 16398 w 12338225"/>
              <a:gd name="connsiteY0" fmla="*/ 3134285 h 3765768"/>
              <a:gd name="connsiteX1" fmla="*/ 12338225 w 12338225"/>
              <a:gd name="connsiteY1" fmla="*/ 251125 h 3765768"/>
              <a:gd name="connsiteX2" fmla="*/ 12333463 w 12338225"/>
              <a:gd name="connsiteY2" fmla="*/ 3737883 h 3765768"/>
              <a:gd name="connsiteX3" fmla="*/ 6266038 w 12338225"/>
              <a:gd name="connsiteY3" fmla="*/ 3724204 h 3765768"/>
              <a:gd name="connsiteX4" fmla="*/ 21680 w 12338225"/>
              <a:gd name="connsiteY4" fmla="*/ 3750615 h 3765768"/>
              <a:gd name="connsiteX5" fmla="*/ 16398 w 12338225"/>
              <a:gd name="connsiteY5" fmla="*/ 3134285 h 3765768"/>
              <a:gd name="connsiteX0" fmla="*/ 12398 w 12334225"/>
              <a:gd name="connsiteY0" fmla="*/ 3134285 h 3765768"/>
              <a:gd name="connsiteX1" fmla="*/ 12334225 w 12334225"/>
              <a:gd name="connsiteY1" fmla="*/ 251125 h 3765768"/>
              <a:gd name="connsiteX2" fmla="*/ 12329463 w 12334225"/>
              <a:gd name="connsiteY2" fmla="*/ 3737883 h 3765768"/>
              <a:gd name="connsiteX3" fmla="*/ 6262038 w 12334225"/>
              <a:gd name="connsiteY3" fmla="*/ 3724204 h 3765768"/>
              <a:gd name="connsiteX4" fmla="*/ 17680 w 12334225"/>
              <a:gd name="connsiteY4" fmla="*/ 3750615 h 3765768"/>
              <a:gd name="connsiteX5" fmla="*/ 12398 w 12334225"/>
              <a:gd name="connsiteY5" fmla="*/ 3134285 h 3765768"/>
              <a:gd name="connsiteX0" fmla="*/ 0 w 12321827"/>
              <a:gd name="connsiteY0" fmla="*/ 3134285 h 3765768"/>
              <a:gd name="connsiteX1" fmla="*/ 12321827 w 12321827"/>
              <a:gd name="connsiteY1" fmla="*/ 251125 h 3765768"/>
              <a:gd name="connsiteX2" fmla="*/ 12317065 w 12321827"/>
              <a:gd name="connsiteY2" fmla="*/ 3737883 h 3765768"/>
              <a:gd name="connsiteX3" fmla="*/ 6249640 w 12321827"/>
              <a:gd name="connsiteY3" fmla="*/ 3724204 h 3765768"/>
              <a:gd name="connsiteX4" fmla="*/ 5282 w 12321827"/>
              <a:gd name="connsiteY4" fmla="*/ 3750615 h 3765768"/>
              <a:gd name="connsiteX5" fmla="*/ 0 w 12321827"/>
              <a:gd name="connsiteY5" fmla="*/ 3134285 h 3765768"/>
              <a:gd name="connsiteX0" fmla="*/ 96 w 12321923"/>
              <a:gd name="connsiteY0" fmla="*/ 3134285 h 3765768"/>
              <a:gd name="connsiteX1" fmla="*/ 12321923 w 12321923"/>
              <a:gd name="connsiteY1" fmla="*/ 251125 h 3765768"/>
              <a:gd name="connsiteX2" fmla="*/ 12317161 w 12321923"/>
              <a:gd name="connsiteY2" fmla="*/ 3737883 h 3765768"/>
              <a:gd name="connsiteX3" fmla="*/ 6249736 w 12321923"/>
              <a:gd name="connsiteY3" fmla="*/ 3724204 h 3765768"/>
              <a:gd name="connsiteX4" fmla="*/ 5378 w 12321923"/>
              <a:gd name="connsiteY4" fmla="*/ 3750615 h 3765768"/>
              <a:gd name="connsiteX5" fmla="*/ 96 w 12321923"/>
              <a:gd name="connsiteY5" fmla="*/ 3134285 h 3765768"/>
              <a:gd name="connsiteX0" fmla="*/ 96 w 12321923"/>
              <a:gd name="connsiteY0" fmla="*/ 3134285 h 3774180"/>
              <a:gd name="connsiteX1" fmla="*/ 12321923 w 12321923"/>
              <a:gd name="connsiteY1" fmla="*/ 251125 h 3774180"/>
              <a:gd name="connsiteX2" fmla="*/ 12317161 w 12321923"/>
              <a:gd name="connsiteY2" fmla="*/ 3737883 h 3774180"/>
              <a:gd name="connsiteX3" fmla="*/ 6255999 w 12321923"/>
              <a:gd name="connsiteY3" fmla="*/ 3755519 h 3774180"/>
              <a:gd name="connsiteX4" fmla="*/ 5378 w 12321923"/>
              <a:gd name="connsiteY4" fmla="*/ 3750615 h 3774180"/>
              <a:gd name="connsiteX5" fmla="*/ 96 w 12321923"/>
              <a:gd name="connsiteY5" fmla="*/ 3134285 h 3774180"/>
              <a:gd name="connsiteX0" fmla="*/ 96 w 12321923"/>
              <a:gd name="connsiteY0" fmla="*/ 3134285 h 3792314"/>
              <a:gd name="connsiteX1" fmla="*/ 12321923 w 12321923"/>
              <a:gd name="connsiteY1" fmla="*/ 251125 h 3792314"/>
              <a:gd name="connsiteX2" fmla="*/ 12247793 w 12321923"/>
              <a:gd name="connsiteY2" fmla="*/ 3763108 h 3792314"/>
              <a:gd name="connsiteX3" fmla="*/ 6255999 w 12321923"/>
              <a:gd name="connsiteY3" fmla="*/ 3755519 h 3792314"/>
              <a:gd name="connsiteX4" fmla="*/ 5378 w 12321923"/>
              <a:gd name="connsiteY4" fmla="*/ 3750615 h 3792314"/>
              <a:gd name="connsiteX5" fmla="*/ 96 w 12321923"/>
              <a:gd name="connsiteY5" fmla="*/ 3134285 h 3792314"/>
              <a:gd name="connsiteX0" fmla="*/ 96 w 12321923"/>
              <a:gd name="connsiteY0" fmla="*/ 3134285 h 3778416"/>
              <a:gd name="connsiteX1" fmla="*/ 12321923 w 12321923"/>
              <a:gd name="connsiteY1" fmla="*/ 251125 h 3778416"/>
              <a:gd name="connsiteX2" fmla="*/ 12209956 w 12321923"/>
              <a:gd name="connsiteY2" fmla="*/ 3744189 h 3778416"/>
              <a:gd name="connsiteX3" fmla="*/ 6255999 w 12321923"/>
              <a:gd name="connsiteY3" fmla="*/ 3755519 h 3778416"/>
              <a:gd name="connsiteX4" fmla="*/ 5378 w 12321923"/>
              <a:gd name="connsiteY4" fmla="*/ 3750615 h 3778416"/>
              <a:gd name="connsiteX5" fmla="*/ 96 w 12321923"/>
              <a:gd name="connsiteY5" fmla="*/ 3134285 h 3778416"/>
              <a:gd name="connsiteX0" fmla="*/ 96 w 12321923"/>
              <a:gd name="connsiteY0" fmla="*/ 3134285 h 3756932"/>
              <a:gd name="connsiteX1" fmla="*/ 12321923 w 12321923"/>
              <a:gd name="connsiteY1" fmla="*/ 251125 h 3756932"/>
              <a:gd name="connsiteX2" fmla="*/ 12209956 w 12321923"/>
              <a:gd name="connsiteY2" fmla="*/ 3744189 h 3756932"/>
              <a:gd name="connsiteX3" fmla="*/ 6255999 w 12321923"/>
              <a:gd name="connsiteY3" fmla="*/ 3755519 h 3756932"/>
              <a:gd name="connsiteX4" fmla="*/ 5378 w 12321923"/>
              <a:gd name="connsiteY4" fmla="*/ 3750615 h 3756932"/>
              <a:gd name="connsiteX5" fmla="*/ 96 w 12321923"/>
              <a:gd name="connsiteY5" fmla="*/ 3134285 h 3756932"/>
              <a:gd name="connsiteX0" fmla="*/ 96 w 12233636"/>
              <a:gd name="connsiteY0" fmla="*/ 3101972 h 3724619"/>
              <a:gd name="connsiteX1" fmla="*/ 12233636 w 12233636"/>
              <a:gd name="connsiteY1" fmla="*/ 262955 h 3724619"/>
              <a:gd name="connsiteX2" fmla="*/ 12209956 w 12233636"/>
              <a:gd name="connsiteY2" fmla="*/ 3711876 h 3724619"/>
              <a:gd name="connsiteX3" fmla="*/ 6255999 w 12233636"/>
              <a:gd name="connsiteY3" fmla="*/ 3723206 h 3724619"/>
              <a:gd name="connsiteX4" fmla="*/ 5378 w 12233636"/>
              <a:gd name="connsiteY4" fmla="*/ 3718302 h 3724619"/>
              <a:gd name="connsiteX5" fmla="*/ 96 w 12233636"/>
              <a:gd name="connsiteY5" fmla="*/ 3101972 h 3724619"/>
              <a:gd name="connsiteX0" fmla="*/ 96 w 12233769"/>
              <a:gd name="connsiteY0" fmla="*/ 3101972 h 3724619"/>
              <a:gd name="connsiteX1" fmla="*/ 12233636 w 12233769"/>
              <a:gd name="connsiteY1" fmla="*/ 262955 h 3724619"/>
              <a:gd name="connsiteX2" fmla="*/ 12209956 w 12233769"/>
              <a:gd name="connsiteY2" fmla="*/ 3711876 h 3724619"/>
              <a:gd name="connsiteX3" fmla="*/ 6255999 w 12233769"/>
              <a:gd name="connsiteY3" fmla="*/ 3723206 h 3724619"/>
              <a:gd name="connsiteX4" fmla="*/ 5378 w 12233769"/>
              <a:gd name="connsiteY4" fmla="*/ 3718302 h 3724619"/>
              <a:gd name="connsiteX5" fmla="*/ 96 w 12233769"/>
              <a:gd name="connsiteY5" fmla="*/ 3101972 h 3724619"/>
              <a:gd name="connsiteX0" fmla="*/ 96 w 12233769"/>
              <a:gd name="connsiteY0" fmla="*/ 3132780 h 3755427"/>
              <a:gd name="connsiteX1" fmla="*/ 12233636 w 12233769"/>
              <a:gd name="connsiteY1" fmla="*/ 293763 h 3755427"/>
              <a:gd name="connsiteX2" fmla="*/ 12209956 w 12233769"/>
              <a:gd name="connsiteY2" fmla="*/ 3742684 h 3755427"/>
              <a:gd name="connsiteX3" fmla="*/ 6255999 w 12233769"/>
              <a:gd name="connsiteY3" fmla="*/ 3754014 h 3755427"/>
              <a:gd name="connsiteX4" fmla="*/ 5378 w 12233769"/>
              <a:gd name="connsiteY4" fmla="*/ 3749110 h 3755427"/>
              <a:gd name="connsiteX5" fmla="*/ 96 w 12233769"/>
              <a:gd name="connsiteY5" fmla="*/ 3132780 h 3755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33769" h="3755427">
                <a:moveTo>
                  <a:pt x="96" y="3132780"/>
                </a:moveTo>
                <a:cubicBezTo>
                  <a:pt x="4841177" y="-732191"/>
                  <a:pt x="10248029" y="-89930"/>
                  <a:pt x="12233636" y="293763"/>
                </a:cubicBezTo>
                <a:cubicBezTo>
                  <a:pt x="12235843" y="407670"/>
                  <a:pt x="12209956" y="1672067"/>
                  <a:pt x="12209956" y="3742684"/>
                </a:cubicBezTo>
                <a:cubicBezTo>
                  <a:pt x="12142952" y="3762601"/>
                  <a:pt x="8297524" y="3752936"/>
                  <a:pt x="6255999" y="3754014"/>
                </a:cubicBezTo>
                <a:lnTo>
                  <a:pt x="5378" y="3749110"/>
                </a:lnTo>
                <a:cubicBezTo>
                  <a:pt x="9890" y="3433868"/>
                  <a:pt x="-1133" y="3382654"/>
                  <a:pt x="96" y="313278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velge nytt bilde fra fil, eller dra bilde over i plassholder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B92CDF9-DE82-0E43-9833-C44C8FE8A14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9007" y="360000"/>
            <a:ext cx="11095200" cy="2387600"/>
          </a:xfrm>
        </p:spPr>
        <p:txBody>
          <a:bodyPr anchor="b" anchorCtr="0">
            <a:normAutofit/>
          </a:bodyPr>
          <a:lstStyle>
            <a:lvl1pPr algn="l">
              <a:defRPr sz="54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AD6A55A-1A30-1B4C-B3FC-7D1F5CBA80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9007" y="2880000"/>
            <a:ext cx="11095199" cy="1655762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674748-8D86-234F-B56F-31E4FDACBC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3366"/>
                </a:solidFill>
              </a:defRPr>
            </a:lvl1pPr>
          </a:lstStyle>
          <a:p>
            <a:fld id="{E0C8295B-ECCB-3D4F-83EA-DEA1C3E36753}" type="datetime1">
              <a:rPr lang="nb-NO" smtClean="0"/>
              <a:t>07.05.2021</a:t>
            </a:fld>
            <a:endParaRPr lang="nb-NO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03EBD51-A7AF-FA42-B0E0-256FE12C0EF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2484" y="557762"/>
            <a:ext cx="1029182" cy="292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104047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7D756D-2099-A44A-838F-CDD66E56E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87673A-F02C-AF4F-8E3C-674DE4778025}" type="datetime1">
              <a:rPr lang="nb-NO" smtClean="0"/>
              <a:t>07.05.2021</a:t>
            </a:fld>
            <a:endParaRPr lang="nb-NO"/>
          </a:p>
        </p:txBody>
      </p:sp>
      <p:pic>
        <p:nvPicPr>
          <p:cNvPr id="9" name="Picture 5">
            <a:extLst>
              <a:ext uri="{FF2B5EF4-FFF2-40B4-BE49-F238E27FC236}">
                <a16:creationId xmlns:a16="http://schemas.microsoft.com/office/drawing/2014/main" id="{2943858E-FB19-B949-96AA-3190E5D564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8658" y="6440567"/>
            <a:ext cx="744333" cy="211863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4F89B944-4246-F740-B530-D92E8B2D4D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8" name="Plassholder for innhold 5">
            <a:extLst>
              <a:ext uri="{FF2B5EF4-FFF2-40B4-BE49-F238E27FC236}">
                <a16:creationId xmlns:a16="http://schemas.microsoft.com/office/drawing/2014/main" id="{8B89D76B-8396-DF41-8BF7-0DE1B1ED2CB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49007" y="1825625"/>
            <a:ext cx="11093984" cy="435133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792531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7D756D-2099-A44A-838F-CDD66E56E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1D6F9B-2C53-6D44-BBBB-F1674FD9A560}" type="datetime1">
              <a:rPr lang="nb-NO" smtClean="0"/>
              <a:t>07.05.2021</a:t>
            </a:fld>
            <a:endParaRPr lang="nb-NO"/>
          </a:p>
        </p:txBody>
      </p:sp>
      <p:pic>
        <p:nvPicPr>
          <p:cNvPr id="9" name="Picture 5">
            <a:extLst>
              <a:ext uri="{FF2B5EF4-FFF2-40B4-BE49-F238E27FC236}">
                <a16:creationId xmlns:a16="http://schemas.microsoft.com/office/drawing/2014/main" id="{2943858E-FB19-B949-96AA-3190E5D564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8658" y="6440567"/>
            <a:ext cx="744333" cy="211863"/>
          </a:xfrm>
          <a:prstGeom prst="rect">
            <a:avLst/>
          </a:prstGeom>
        </p:spPr>
      </p:pic>
      <p:sp>
        <p:nvSpPr>
          <p:cNvPr id="5" name="Tittel 4">
            <a:extLst>
              <a:ext uri="{FF2B5EF4-FFF2-40B4-BE49-F238E27FC236}">
                <a16:creationId xmlns:a16="http://schemas.microsoft.com/office/drawing/2014/main" id="{C4126772-88A3-2A49-8374-C4805756FC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303A06D-21DF-7343-9179-158AF8EEADC4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7646126" y="1825625"/>
            <a:ext cx="3996866" cy="4351338"/>
          </a:xfrm>
        </p:spPr>
        <p:txBody>
          <a:bodyPr>
            <a:normAutofit/>
          </a:bodyPr>
          <a:lstStyle>
            <a:lvl1pPr marL="0" indent="0">
              <a:buNone/>
              <a:defRPr sz="2000" b="0"/>
            </a:lvl1pPr>
            <a:lvl2pPr>
              <a:lnSpc>
                <a:spcPts val="3200"/>
              </a:lnSpc>
              <a:defRPr/>
            </a:lvl2pPr>
          </a:lstStyle>
          <a:p>
            <a:pPr lvl="0"/>
            <a:r>
              <a:rPr lang="en-US" dirty="0"/>
              <a:t>Second level</a:t>
            </a:r>
            <a:endParaRPr lang="nb-NO" dirty="0"/>
          </a:p>
        </p:txBody>
      </p:sp>
      <p:sp>
        <p:nvSpPr>
          <p:cNvPr id="10" name="Plassholder for innhold 1">
            <a:extLst>
              <a:ext uri="{FF2B5EF4-FFF2-40B4-BE49-F238E27FC236}">
                <a16:creationId xmlns:a16="http://schemas.microsoft.com/office/drawing/2014/main" id="{D354A28C-233B-5148-8F0D-AD38CE4F94D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49007" y="1825625"/>
            <a:ext cx="6670398" cy="435133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8094324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+ Imag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7D756D-2099-A44A-838F-CDD66E56E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3E0541-0925-4745-8F11-57F25C337D78}" type="datetime1">
              <a:rPr lang="nb-NO" smtClean="0"/>
              <a:t>07.05.2021</a:t>
            </a:fld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60938B5A-0356-824E-B492-5BED32365C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6" name="Plassholder for bilde 4">
            <a:extLst>
              <a:ext uri="{FF2B5EF4-FFF2-40B4-BE49-F238E27FC236}">
                <a16:creationId xmlns:a16="http://schemas.microsoft.com/office/drawing/2014/main" id="{AC5E1204-ACDF-734A-9438-64EDF26E56B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46015" y="1825624"/>
            <a:ext cx="6470694" cy="4351338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nb-NO" sz="2800" dirty="0"/>
              <a:t>Klikk for å legge til bilde fra fil, eller dra bilde over plassholderen</a:t>
            </a:r>
          </a:p>
        </p:txBody>
      </p:sp>
      <p:sp>
        <p:nvSpPr>
          <p:cNvPr id="7" name="Plassholder for innhold 4">
            <a:extLst>
              <a:ext uri="{FF2B5EF4-FFF2-40B4-BE49-F238E27FC236}">
                <a16:creationId xmlns:a16="http://schemas.microsoft.com/office/drawing/2014/main" id="{8BB62D2B-2AC3-A542-82B6-BA4DB12199C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7480502" y="1825624"/>
            <a:ext cx="4162490" cy="435133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18020454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+ Imag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7D756D-2099-A44A-838F-CDD66E56E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8CA927-B5AE-1541-BF3F-80FA7A34CA81}" type="datetime1">
              <a:rPr lang="nb-NO" smtClean="0"/>
              <a:t>07.05.2021</a:t>
            </a:fld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60938B5A-0356-824E-B492-5BED32365C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007" y="570084"/>
            <a:ext cx="11093985" cy="1129846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5" name="Plassholder for bilde 4">
            <a:extLst>
              <a:ext uri="{FF2B5EF4-FFF2-40B4-BE49-F238E27FC236}">
                <a16:creationId xmlns:a16="http://schemas.microsoft.com/office/drawing/2014/main" id="{468196FD-686B-D541-86BE-E00E28D7725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49007" y="1825624"/>
            <a:ext cx="4160992" cy="4351338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>
              <a:defRPr sz="1800">
                <a:solidFill>
                  <a:schemeClr val="tx1"/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nb-NO" dirty="0"/>
          </a:p>
        </p:txBody>
      </p:sp>
      <p:sp>
        <p:nvSpPr>
          <p:cNvPr id="14" name="Plassholder for innhold 4">
            <a:extLst>
              <a:ext uri="{FF2B5EF4-FFF2-40B4-BE49-F238E27FC236}">
                <a16:creationId xmlns:a16="http://schemas.microsoft.com/office/drawing/2014/main" id="{1F3FAB04-B759-5E44-BD5F-07096C7D720E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172598" y="1825624"/>
            <a:ext cx="6467401" cy="435133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96551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1" imgH="472" progId="TCLayout.ActiveDocument.1">
                  <p:embed/>
                </p:oleObj>
              </mc:Choice>
              <mc:Fallback>
                <p:oleObj name="think-cell Slide" r:id="rId3" imgW="471" imgH="472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1886" y="841827"/>
            <a:ext cx="11364687" cy="790803"/>
          </a:xfrm>
        </p:spPr>
        <p:txBody>
          <a:bodyPr>
            <a:noAutofit/>
          </a:bodyPr>
          <a:lstStyle>
            <a:lvl1pPr>
              <a:defRPr sz="2800" b="1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1886" y="1799772"/>
            <a:ext cx="11364687" cy="4377192"/>
          </a:xfrm>
        </p:spPr>
        <p:txBody>
          <a:bodyPr/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nb-NO" sz="2000" b="1" kern="1200" dirty="0" smtClean="0">
                <a:solidFill>
                  <a:schemeClr val="accent5">
                    <a:lumMod val="60000"/>
                    <a:lumOff val="40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450850" indent="-227013">
              <a:defRPr sz="1800"/>
            </a:lvl2pPr>
            <a:lvl3pPr marL="804863" indent="-227013">
              <a:buSzPct val="120000"/>
              <a:buFont typeface="Calibri" panose="020F0502020204030204" pitchFamily="34" charset="0"/>
              <a:buChar char="◦"/>
              <a:defRPr sz="1800"/>
            </a:lvl3pPr>
            <a:lvl4pPr marL="1166813" indent="-227013">
              <a:buFont typeface="Wingdings" panose="05000000000000000000" pitchFamily="2" charset="2"/>
              <a:buChar char="§"/>
              <a:defRPr sz="1800"/>
            </a:lvl4pPr>
            <a:lvl5pPr marL="1433513" indent="-227013">
              <a:buFont typeface="Calibri" panose="020F0502020204030204" pitchFamily="34" charset="0"/>
              <a:buChar char="▫"/>
              <a:defRPr sz="1800"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11AD42-ED7A-4C6E-8347-826D2249171C}" type="datetimeFigureOut">
              <a:rPr lang="nb-NO" smtClean="0"/>
              <a:t>07.05.2021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82B9B1-E5CC-4162-9683-1B7647BECBD6}" type="slidenum">
              <a:rPr lang="nb-NO" smtClean="0"/>
              <a:t>‹#›</a:t>
            </a:fld>
            <a:endParaRPr lang="nb-NO"/>
          </a:p>
        </p:txBody>
      </p:sp>
      <p:sp>
        <p:nvSpPr>
          <p:cNvPr id="7" name="Rektangel 6"/>
          <p:cNvSpPr/>
          <p:nvPr/>
        </p:nvSpPr>
        <p:spPr>
          <a:xfrm>
            <a:off x="0" y="0"/>
            <a:ext cx="12192000" cy="7112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/>
          </p:nvPr>
        </p:nvSpPr>
        <p:spPr>
          <a:xfrm>
            <a:off x="409879" y="245837"/>
            <a:ext cx="7224636" cy="363764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133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pic>
        <p:nvPicPr>
          <p:cNvPr id="11" name="Bilde 10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8400" y="219600"/>
            <a:ext cx="1353405" cy="38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72238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+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7D756D-2099-A44A-838F-CDD66E56E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0FF37A-644F-3844-BF5E-A4C8D690A4A4}" type="datetime1">
              <a:rPr lang="nb-NO" smtClean="0"/>
              <a:t>07.05.2021</a:t>
            </a:fld>
            <a:endParaRPr lang="nb-NO"/>
          </a:p>
        </p:txBody>
      </p:sp>
      <p:sp>
        <p:nvSpPr>
          <p:cNvPr id="6" name="Plassholder for bilde 4">
            <a:extLst>
              <a:ext uri="{FF2B5EF4-FFF2-40B4-BE49-F238E27FC236}">
                <a16:creationId xmlns:a16="http://schemas.microsoft.com/office/drawing/2014/main" id="{8A99BE77-8497-EC4A-A962-A3E9916FDD7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49008" y="1825625"/>
            <a:ext cx="2771599" cy="204969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nb-NO" dirty="0"/>
          </a:p>
        </p:txBody>
      </p:sp>
      <p:sp>
        <p:nvSpPr>
          <p:cNvPr id="7" name="Plassholder for bilde 4">
            <a:extLst>
              <a:ext uri="{FF2B5EF4-FFF2-40B4-BE49-F238E27FC236}">
                <a16:creationId xmlns:a16="http://schemas.microsoft.com/office/drawing/2014/main" id="{AC5CB31D-E13D-194D-8F1E-93CF980013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9008" y="4142105"/>
            <a:ext cx="2771998" cy="204969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nb-NO" dirty="0"/>
          </a:p>
        </p:txBody>
      </p:sp>
      <p:sp>
        <p:nvSpPr>
          <p:cNvPr id="8" name="Tittel 7">
            <a:extLst>
              <a:ext uri="{FF2B5EF4-FFF2-40B4-BE49-F238E27FC236}">
                <a16:creationId xmlns:a16="http://schemas.microsoft.com/office/drawing/2014/main" id="{7093286F-C34E-8642-AA54-FDB63D4778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8" name="Plassholder for innhold 4">
            <a:extLst>
              <a:ext uri="{FF2B5EF4-FFF2-40B4-BE49-F238E27FC236}">
                <a16:creationId xmlns:a16="http://schemas.microsoft.com/office/drawing/2014/main" id="{5B140E7C-2B2B-1E48-ADDA-7B71F89784E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781007" y="1825625"/>
            <a:ext cx="7858992" cy="4351338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9782401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+ Imag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7D756D-2099-A44A-838F-CDD66E56E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42F7D-F44A-C447-8C45-2180BE0A7B31}" type="datetime1">
              <a:rPr lang="nb-NO" smtClean="0"/>
              <a:t>07.05.2021</a:t>
            </a:fld>
            <a:endParaRPr lang="nb-NO"/>
          </a:p>
        </p:txBody>
      </p:sp>
      <p:pic>
        <p:nvPicPr>
          <p:cNvPr id="9" name="Picture 5">
            <a:extLst>
              <a:ext uri="{FF2B5EF4-FFF2-40B4-BE49-F238E27FC236}">
                <a16:creationId xmlns:a16="http://schemas.microsoft.com/office/drawing/2014/main" id="{2943858E-FB19-B949-96AA-3190E5D564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8658" y="6440567"/>
            <a:ext cx="744333" cy="211863"/>
          </a:xfrm>
          <a:prstGeom prst="rect">
            <a:avLst/>
          </a:prstGeom>
        </p:spPr>
      </p:pic>
      <p:sp>
        <p:nvSpPr>
          <p:cNvPr id="5" name="Plassholder for bilde 4">
            <a:extLst>
              <a:ext uri="{FF2B5EF4-FFF2-40B4-BE49-F238E27FC236}">
                <a16:creationId xmlns:a16="http://schemas.microsoft.com/office/drawing/2014/main" id="{8C24C229-7217-6C49-97CB-8F5F52B844D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143215" y="-60136"/>
            <a:ext cx="6111637" cy="6258913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3345 w 10000"/>
              <a:gd name="connsiteY3" fmla="*/ 7623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3345 w 10000"/>
              <a:gd name="connsiteY3" fmla="*/ 7623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3345 w 10000"/>
              <a:gd name="connsiteY3" fmla="*/ 7623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3266 w 10000"/>
              <a:gd name="connsiteY3" fmla="*/ 7842 h 10000"/>
              <a:gd name="connsiteX4" fmla="*/ 0 w 10000"/>
              <a:gd name="connsiteY4" fmla="*/ 0 h 10000"/>
              <a:gd name="connsiteX0" fmla="*/ 0 w 10000"/>
              <a:gd name="connsiteY0" fmla="*/ 0 h 10301"/>
              <a:gd name="connsiteX1" fmla="*/ 10000 w 10000"/>
              <a:gd name="connsiteY1" fmla="*/ 0 h 10301"/>
              <a:gd name="connsiteX2" fmla="*/ 10000 w 10000"/>
              <a:gd name="connsiteY2" fmla="*/ 10000 h 10301"/>
              <a:gd name="connsiteX3" fmla="*/ 9087 w 10000"/>
              <a:gd name="connsiteY3" fmla="*/ 10301 h 10301"/>
              <a:gd name="connsiteX4" fmla="*/ 0 w 10000"/>
              <a:gd name="connsiteY4" fmla="*/ 0 h 10301"/>
              <a:gd name="connsiteX0" fmla="*/ 0 w 10000"/>
              <a:gd name="connsiteY0" fmla="*/ 0 h 10301"/>
              <a:gd name="connsiteX1" fmla="*/ 10000 w 10000"/>
              <a:gd name="connsiteY1" fmla="*/ 0 h 10301"/>
              <a:gd name="connsiteX2" fmla="*/ 10000 w 10000"/>
              <a:gd name="connsiteY2" fmla="*/ 7404 h 10301"/>
              <a:gd name="connsiteX3" fmla="*/ 9087 w 10000"/>
              <a:gd name="connsiteY3" fmla="*/ 10301 h 10301"/>
              <a:gd name="connsiteX4" fmla="*/ 0 w 10000"/>
              <a:gd name="connsiteY4" fmla="*/ 0 h 10301"/>
              <a:gd name="connsiteX0" fmla="*/ 0 w 10009"/>
              <a:gd name="connsiteY0" fmla="*/ 0 h 10110"/>
              <a:gd name="connsiteX1" fmla="*/ 10000 w 10009"/>
              <a:gd name="connsiteY1" fmla="*/ 0 h 10110"/>
              <a:gd name="connsiteX2" fmla="*/ 10000 w 10009"/>
              <a:gd name="connsiteY2" fmla="*/ 7404 h 10110"/>
              <a:gd name="connsiteX3" fmla="*/ 10009 w 10009"/>
              <a:gd name="connsiteY3" fmla="*/ 10110 h 10110"/>
              <a:gd name="connsiteX4" fmla="*/ 0 w 10009"/>
              <a:gd name="connsiteY4" fmla="*/ 0 h 10110"/>
              <a:gd name="connsiteX0" fmla="*/ 0 w 10009"/>
              <a:gd name="connsiteY0" fmla="*/ 0 h 10110"/>
              <a:gd name="connsiteX1" fmla="*/ 10000 w 10009"/>
              <a:gd name="connsiteY1" fmla="*/ 0 h 10110"/>
              <a:gd name="connsiteX2" fmla="*/ 10000 w 10009"/>
              <a:gd name="connsiteY2" fmla="*/ 7404 h 10110"/>
              <a:gd name="connsiteX3" fmla="*/ 10009 w 10009"/>
              <a:gd name="connsiteY3" fmla="*/ 10110 h 10110"/>
              <a:gd name="connsiteX4" fmla="*/ 0 w 10009"/>
              <a:gd name="connsiteY4" fmla="*/ 0 h 10110"/>
              <a:gd name="connsiteX0" fmla="*/ 0 w 10114"/>
              <a:gd name="connsiteY0" fmla="*/ 0 h 10766"/>
              <a:gd name="connsiteX1" fmla="*/ 10105 w 10114"/>
              <a:gd name="connsiteY1" fmla="*/ 656 h 10766"/>
              <a:gd name="connsiteX2" fmla="*/ 10105 w 10114"/>
              <a:gd name="connsiteY2" fmla="*/ 8060 h 10766"/>
              <a:gd name="connsiteX3" fmla="*/ 10114 w 10114"/>
              <a:gd name="connsiteY3" fmla="*/ 10766 h 10766"/>
              <a:gd name="connsiteX4" fmla="*/ 0 w 10114"/>
              <a:gd name="connsiteY4" fmla="*/ 0 h 10766"/>
              <a:gd name="connsiteX0" fmla="*/ 0 w 10114"/>
              <a:gd name="connsiteY0" fmla="*/ 0 h 10766"/>
              <a:gd name="connsiteX1" fmla="*/ 10105 w 10114"/>
              <a:gd name="connsiteY1" fmla="*/ 656 h 10766"/>
              <a:gd name="connsiteX2" fmla="*/ 10105 w 10114"/>
              <a:gd name="connsiteY2" fmla="*/ 8060 h 10766"/>
              <a:gd name="connsiteX3" fmla="*/ 10114 w 10114"/>
              <a:gd name="connsiteY3" fmla="*/ 10766 h 10766"/>
              <a:gd name="connsiteX4" fmla="*/ 0 w 10114"/>
              <a:gd name="connsiteY4" fmla="*/ 0 h 10766"/>
              <a:gd name="connsiteX0" fmla="*/ 0 w 10114"/>
              <a:gd name="connsiteY0" fmla="*/ 0 h 10766"/>
              <a:gd name="connsiteX1" fmla="*/ 10105 w 10114"/>
              <a:gd name="connsiteY1" fmla="*/ 28 h 10766"/>
              <a:gd name="connsiteX2" fmla="*/ 10105 w 10114"/>
              <a:gd name="connsiteY2" fmla="*/ 8060 h 10766"/>
              <a:gd name="connsiteX3" fmla="*/ 10114 w 10114"/>
              <a:gd name="connsiteY3" fmla="*/ 10766 h 10766"/>
              <a:gd name="connsiteX4" fmla="*/ 0 w 10114"/>
              <a:gd name="connsiteY4" fmla="*/ 0 h 10766"/>
              <a:gd name="connsiteX0" fmla="*/ 0 w 10210"/>
              <a:gd name="connsiteY0" fmla="*/ 81 h 10847"/>
              <a:gd name="connsiteX1" fmla="*/ 10210 w 10210"/>
              <a:gd name="connsiteY1" fmla="*/ 0 h 10847"/>
              <a:gd name="connsiteX2" fmla="*/ 10105 w 10210"/>
              <a:gd name="connsiteY2" fmla="*/ 8141 h 10847"/>
              <a:gd name="connsiteX3" fmla="*/ 10114 w 10210"/>
              <a:gd name="connsiteY3" fmla="*/ 10847 h 10847"/>
              <a:gd name="connsiteX4" fmla="*/ 0 w 10210"/>
              <a:gd name="connsiteY4" fmla="*/ 81 h 10847"/>
              <a:gd name="connsiteX0" fmla="*/ 0 w 10210"/>
              <a:gd name="connsiteY0" fmla="*/ 81 h 10847"/>
              <a:gd name="connsiteX1" fmla="*/ 10210 w 10210"/>
              <a:gd name="connsiteY1" fmla="*/ 0 h 10847"/>
              <a:gd name="connsiteX2" fmla="*/ 10105 w 10210"/>
              <a:gd name="connsiteY2" fmla="*/ 8141 h 10847"/>
              <a:gd name="connsiteX3" fmla="*/ 10167 w 10210"/>
              <a:gd name="connsiteY3" fmla="*/ 10847 h 10847"/>
              <a:gd name="connsiteX4" fmla="*/ 0 w 10210"/>
              <a:gd name="connsiteY4" fmla="*/ 81 h 10847"/>
              <a:gd name="connsiteX0" fmla="*/ 0 w 10210"/>
              <a:gd name="connsiteY0" fmla="*/ 81 h 10847"/>
              <a:gd name="connsiteX1" fmla="*/ 10210 w 10210"/>
              <a:gd name="connsiteY1" fmla="*/ 0 h 10847"/>
              <a:gd name="connsiteX2" fmla="*/ 10158 w 10210"/>
              <a:gd name="connsiteY2" fmla="*/ 8250 h 10847"/>
              <a:gd name="connsiteX3" fmla="*/ 10167 w 10210"/>
              <a:gd name="connsiteY3" fmla="*/ 10847 h 10847"/>
              <a:gd name="connsiteX4" fmla="*/ 0 w 10210"/>
              <a:gd name="connsiteY4" fmla="*/ 81 h 10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10" h="10847">
                <a:moveTo>
                  <a:pt x="0" y="81"/>
                </a:moveTo>
                <a:lnTo>
                  <a:pt x="10210" y="0"/>
                </a:lnTo>
                <a:cubicBezTo>
                  <a:pt x="10193" y="2750"/>
                  <a:pt x="10175" y="5500"/>
                  <a:pt x="10158" y="8250"/>
                </a:cubicBezTo>
                <a:cubicBezTo>
                  <a:pt x="10179" y="9152"/>
                  <a:pt x="10146" y="9945"/>
                  <a:pt x="10167" y="10847"/>
                </a:cubicBezTo>
                <a:cubicBezTo>
                  <a:pt x="2915" y="10683"/>
                  <a:pt x="562" y="5682"/>
                  <a:pt x="0" y="8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nb-NO"/>
              <a:t>Klikk på ikonet for å legge til et bilde</a:t>
            </a:r>
          </a:p>
        </p:txBody>
      </p:sp>
      <p:sp>
        <p:nvSpPr>
          <p:cNvPr id="8" name="Plassholder for innhold 1">
            <a:extLst>
              <a:ext uri="{FF2B5EF4-FFF2-40B4-BE49-F238E27FC236}">
                <a16:creationId xmlns:a16="http://schemas.microsoft.com/office/drawing/2014/main" id="{3CAD0C6E-4CA2-2043-9214-9D75ED6C611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49007" y="1825625"/>
            <a:ext cx="5594207" cy="435133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6B6147EF-1829-A549-AFBB-DA58BFEB78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008" y="570084"/>
            <a:ext cx="5379454" cy="1129846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4865864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_Med Møn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E58864-D613-E442-98F2-A61AE2F7FAC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9008" y="1840865"/>
            <a:ext cx="5741434" cy="4351338"/>
          </a:xfrm>
        </p:spPr>
        <p:txBody>
          <a:bodyPr/>
          <a:lstStyle>
            <a:lvl1pPr marL="0" indent="0">
              <a:lnSpc>
                <a:spcPts val="3200"/>
              </a:lnSpc>
              <a:buNone/>
              <a:defRPr sz="2400" b="0"/>
            </a:lvl1pPr>
            <a:lvl2pPr>
              <a:lnSpc>
                <a:spcPct val="150000"/>
              </a:lnSpc>
              <a:defRPr/>
            </a:lvl2pPr>
          </a:lstStyle>
          <a:p>
            <a:pPr lvl="0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b-NO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7D756D-2099-A44A-838F-CDD66E56E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0BEFF4-4EC6-8B4D-BC3B-BE17BB72A761}" type="datetime1">
              <a:rPr lang="nb-NO" smtClean="0"/>
              <a:t>07.05.2021</a:t>
            </a:fld>
            <a:endParaRPr lang="nb-NO"/>
          </a:p>
        </p:txBody>
      </p:sp>
      <p:pic>
        <p:nvPicPr>
          <p:cNvPr id="9" name="Picture 5">
            <a:extLst>
              <a:ext uri="{FF2B5EF4-FFF2-40B4-BE49-F238E27FC236}">
                <a16:creationId xmlns:a16="http://schemas.microsoft.com/office/drawing/2014/main" id="{9BE36348-022F-BE42-92A8-5F17D7911D3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8658" y="6440567"/>
            <a:ext cx="744333" cy="211863"/>
          </a:xfrm>
          <a:prstGeom prst="rect">
            <a:avLst/>
          </a:prstGeom>
        </p:spPr>
      </p:pic>
      <p:sp>
        <p:nvSpPr>
          <p:cNvPr id="7" name="Plassholder for bilde 4">
            <a:extLst>
              <a:ext uri="{FF2B5EF4-FFF2-40B4-BE49-F238E27FC236}">
                <a16:creationId xmlns:a16="http://schemas.microsoft.com/office/drawing/2014/main" id="{9DEA7D4C-C013-E640-9A6C-A7450F34A6B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143215" y="-60136"/>
            <a:ext cx="6111637" cy="6258913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3345 w 10000"/>
              <a:gd name="connsiteY3" fmla="*/ 7623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3345 w 10000"/>
              <a:gd name="connsiteY3" fmla="*/ 7623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3345 w 10000"/>
              <a:gd name="connsiteY3" fmla="*/ 7623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3266 w 10000"/>
              <a:gd name="connsiteY3" fmla="*/ 7842 h 10000"/>
              <a:gd name="connsiteX4" fmla="*/ 0 w 10000"/>
              <a:gd name="connsiteY4" fmla="*/ 0 h 10000"/>
              <a:gd name="connsiteX0" fmla="*/ 0 w 10000"/>
              <a:gd name="connsiteY0" fmla="*/ 0 h 10301"/>
              <a:gd name="connsiteX1" fmla="*/ 10000 w 10000"/>
              <a:gd name="connsiteY1" fmla="*/ 0 h 10301"/>
              <a:gd name="connsiteX2" fmla="*/ 10000 w 10000"/>
              <a:gd name="connsiteY2" fmla="*/ 10000 h 10301"/>
              <a:gd name="connsiteX3" fmla="*/ 9087 w 10000"/>
              <a:gd name="connsiteY3" fmla="*/ 10301 h 10301"/>
              <a:gd name="connsiteX4" fmla="*/ 0 w 10000"/>
              <a:gd name="connsiteY4" fmla="*/ 0 h 10301"/>
              <a:gd name="connsiteX0" fmla="*/ 0 w 10000"/>
              <a:gd name="connsiteY0" fmla="*/ 0 h 10301"/>
              <a:gd name="connsiteX1" fmla="*/ 10000 w 10000"/>
              <a:gd name="connsiteY1" fmla="*/ 0 h 10301"/>
              <a:gd name="connsiteX2" fmla="*/ 10000 w 10000"/>
              <a:gd name="connsiteY2" fmla="*/ 7404 h 10301"/>
              <a:gd name="connsiteX3" fmla="*/ 9087 w 10000"/>
              <a:gd name="connsiteY3" fmla="*/ 10301 h 10301"/>
              <a:gd name="connsiteX4" fmla="*/ 0 w 10000"/>
              <a:gd name="connsiteY4" fmla="*/ 0 h 10301"/>
              <a:gd name="connsiteX0" fmla="*/ 0 w 10009"/>
              <a:gd name="connsiteY0" fmla="*/ 0 h 10110"/>
              <a:gd name="connsiteX1" fmla="*/ 10000 w 10009"/>
              <a:gd name="connsiteY1" fmla="*/ 0 h 10110"/>
              <a:gd name="connsiteX2" fmla="*/ 10000 w 10009"/>
              <a:gd name="connsiteY2" fmla="*/ 7404 h 10110"/>
              <a:gd name="connsiteX3" fmla="*/ 10009 w 10009"/>
              <a:gd name="connsiteY3" fmla="*/ 10110 h 10110"/>
              <a:gd name="connsiteX4" fmla="*/ 0 w 10009"/>
              <a:gd name="connsiteY4" fmla="*/ 0 h 10110"/>
              <a:gd name="connsiteX0" fmla="*/ 0 w 10009"/>
              <a:gd name="connsiteY0" fmla="*/ 0 h 10110"/>
              <a:gd name="connsiteX1" fmla="*/ 10000 w 10009"/>
              <a:gd name="connsiteY1" fmla="*/ 0 h 10110"/>
              <a:gd name="connsiteX2" fmla="*/ 10000 w 10009"/>
              <a:gd name="connsiteY2" fmla="*/ 7404 h 10110"/>
              <a:gd name="connsiteX3" fmla="*/ 10009 w 10009"/>
              <a:gd name="connsiteY3" fmla="*/ 10110 h 10110"/>
              <a:gd name="connsiteX4" fmla="*/ 0 w 10009"/>
              <a:gd name="connsiteY4" fmla="*/ 0 h 10110"/>
              <a:gd name="connsiteX0" fmla="*/ 0 w 10114"/>
              <a:gd name="connsiteY0" fmla="*/ 0 h 10766"/>
              <a:gd name="connsiteX1" fmla="*/ 10105 w 10114"/>
              <a:gd name="connsiteY1" fmla="*/ 656 h 10766"/>
              <a:gd name="connsiteX2" fmla="*/ 10105 w 10114"/>
              <a:gd name="connsiteY2" fmla="*/ 8060 h 10766"/>
              <a:gd name="connsiteX3" fmla="*/ 10114 w 10114"/>
              <a:gd name="connsiteY3" fmla="*/ 10766 h 10766"/>
              <a:gd name="connsiteX4" fmla="*/ 0 w 10114"/>
              <a:gd name="connsiteY4" fmla="*/ 0 h 10766"/>
              <a:gd name="connsiteX0" fmla="*/ 0 w 10114"/>
              <a:gd name="connsiteY0" fmla="*/ 0 h 10766"/>
              <a:gd name="connsiteX1" fmla="*/ 10105 w 10114"/>
              <a:gd name="connsiteY1" fmla="*/ 656 h 10766"/>
              <a:gd name="connsiteX2" fmla="*/ 10105 w 10114"/>
              <a:gd name="connsiteY2" fmla="*/ 8060 h 10766"/>
              <a:gd name="connsiteX3" fmla="*/ 10114 w 10114"/>
              <a:gd name="connsiteY3" fmla="*/ 10766 h 10766"/>
              <a:gd name="connsiteX4" fmla="*/ 0 w 10114"/>
              <a:gd name="connsiteY4" fmla="*/ 0 h 10766"/>
              <a:gd name="connsiteX0" fmla="*/ 0 w 10114"/>
              <a:gd name="connsiteY0" fmla="*/ 0 h 10766"/>
              <a:gd name="connsiteX1" fmla="*/ 10105 w 10114"/>
              <a:gd name="connsiteY1" fmla="*/ 28 h 10766"/>
              <a:gd name="connsiteX2" fmla="*/ 10105 w 10114"/>
              <a:gd name="connsiteY2" fmla="*/ 8060 h 10766"/>
              <a:gd name="connsiteX3" fmla="*/ 10114 w 10114"/>
              <a:gd name="connsiteY3" fmla="*/ 10766 h 10766"/>
              <a:gd name="connsiteX4" fmla="*/ 0 w 10114"/>
              <a:gd name="connsiteY4" fmla="*/ 0 h 10766"/>
              <a:gd name="connsiteX0" fmla="*/ 0 w 10210"/>
              <a:gd name="connsiteY0" fmla="*/ 81 h 10847"/>
              <a:gd name="connsiteX1" fmla="*/ 10210 w 10210"/>
              <a:gd name="connsiteY1" fmla="*/ 0 h 10847"/>
              <a:gd name="connsiteX2" fmla="*/ 10105 w 10210"/>
              <a:gd name="connsiteY2" fmla="*/ 8141 h 10847"/>
              <a:gd name="connsiteX3" fmla="*/ 10114 w 10210"/>
              <a:gd name="connsiteY3" fmla="*/ 10847 h 10847"/>
              <a:gd name="connsiteX4" fmla="*/ 0 w 10210"/>
              <a:gd name="connsiteY4" fmla="*/ 81 h 10847"/>
              <a:gd name="connsiteX0" fmla="*/ 0 w 10210"/>
              <a:gd name="connsiteY0" fmla="*/ 81 h 10847"/>
              <a:gd name="connsiteX1" fmla="*/ 10210 w 10210"/>
              <a:gd name="connsiteY1" fmla="*/ 0 h 10847"/>
              <a:gd name="connsiteX2" fmla="*/ 10105 w 10210"/>
              <a:gd name="connsiteY2" fmla="*/ 8141 h 10847"/>
              <a:gd name="connsiteX3" fmla="*/ 10167 w 10210"/>
              <a:gd name="connsiteY3" fmla="*/ 10847 h 10847"/>
              <a:gd name="connsiteX4" fmla="*/ 0 w 10210"/>
              <a:gd name="connsiteY4" fmla="*/ 81 h 10847"/>
              <a:gd name="connsiteX0" fmla="*/ 0 w 10210"/>
              <a:gd name="connsiteY0" fmla="*/ 81 h 10847"/>
              <a:gd name="connsiteX1" fmla="*/ 10210 w 10210"/>
              <a:gd name="connsiteY1" fmla="*/ 0 h 10847"/>
              <a:gd name="connsiteX2" fmla="*/ 10158 w 10210"/>
              <a:gd name="connsiteY2" fmla="*/ 8250 h 10847"/>
              <a:gd name="connsiteX3" fmla="*/ 10167 w 10210"/>
              <a:gd name="connsiteY3" fmla="*/ 10847 h 10847"/>
              <a:gd name="connsiteX4" fmla="*/ 0 w 10210"/>
              <a:gd name="connsiteY4" fmla="*/ 81 h 10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10" h="10847">
                <a:moveTo>
                  <a:pt x="0" y="81"/>
                </a:moveTo>
                <a:lnTo>
                  <a:pt x="10210" y="0"/>
                </a:lnTo>
                <a:cubicBezTo>
                  <a:pt x="10193" y="2750"/>
                  <a:pt x="10175" y="5500"/>
                  <a:pt x="10158" y="8250"/>
                </a:cubicBezTo>
                <a:cubicBezTo>
                  <a:pt x="10179" y="9152"/>
                  <a:pt x="10146" y="9945"/>
                  <a:pt x="10167" y="10847"/>
                </a:cubicBezTo>
                <a:cubicBezTo>
                  <a:pt x="2915" y="10683"/>
                  <a:pt x="562" y="5682"/>
                  <a:pt x="0" y="8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sette inn bilde fra fil, </a:t>
            </a:r>
            <a:br>
              <a:rPr lang="nb-NO" dirty="0"/>
            </a:br>
            <a:r>
              <a:rPr lang="nb-NO" dirty="0"/>
              <a:t>eller dra bildefil over i plassholderen</a:t>
            </a: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B45D759E-B9A9-B549-B549-7F5A83545B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008" y="570084"/>
            <a:ext cx="4606316" cy="1129846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9514518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1E6EB52-AE9D-194C-9733-B1F22D44FD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EB6EBF-FB79-3B4C-BFA0-38325F2C8226}" type="datetime1">
              <a:rPr lang="nb-NO" smtClean="0"/>
              <a:t>07.05.202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1719975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A">
    <p:bg>
      <p:bgPr>
        <a:solidFill>
          <a:srgbClr val="DBF0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E58864-D613-E442-98F2-A61AE2F7FAC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9007" y="4985259"/>
            <a:ext cx="11212069" cy="1185735"/>
          </a:xfrm>
        </p:spPr>
        <p:txBody>
          <a:bodyPr>
            <a:normAutofit/>
          </a:bodyPr>
          <a:lstStyle>
            <a:lvl1pPr marL="0" indent="0">
              <a:buNone/>
              <a:defRPr sz="2400" b="0"/>
            </a:lvl1pPr>
            <a:lvl2pPr marL="457200" indent="0">
              <a:lnSpc>
                <a:spcPts val="3200"/>
              </a:lnSpc>
              <a:buNone/>
              <a:defRPr/>
            </a:lvl2pPr>
            <a:lvl3pPr>
              <a:defRPr sz="2400" b="0"/>
            </a:lvl3pPr>
            <a:lvl4pPr>
              <a:defRPr sz="2400" b="0"/>
            </a:lvl4pPr>
            <a:lvl5pPr>
              <a:defRPr sz="2400" b="0"/>
            </a:lvl5pPr>
          </a:lstStyle>
          <a:p>
            <a:pPr lvl="0"/>
            <a:r>
              <a:rPr lang="en-US" dirty="0"/>
              <a:t>Second level</a:t>
            </a:r>
            <a:endParaRPr lang="nb-NO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7D756D-2099-A44A-838F-CDD66E56E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2FD1F8-2AB8-3441-B25E-D3234666B480}" type="datetime1">
              <a:rPr lang="nb-NO" smtClean="0"/>
              <a:t>07.05.2021</a:t>
            </a:fld>
            <a:endParaRPr lang="nb-NO"/>
          </a:p>
        </p:txBody>
      </p:sp>
      <p:pic>
        <p:nvPicPr>
          <p:cNvPr id="9" name="Picture 5">
            <a:extLst>
              <a:ext uri="{FF2B5EF4-FFF2-40B4-BE49-F238E27FC236}">
                <a16:creationId xmlns:a16="http://schemas.microsoft.com/office/drawing/2014/main" id="{2943858E-FB19-B949-96AA-3190E5D564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8658" y="6440567"/>
            <a:ext cx="744333" cy="211863"/>
          </a:xfrm>
          <a:prstGeom prst="rect">
            <a:avLst/>
          </a:prstGeom>
        </p:spPr>
      </p:pic>
      <p:sp>
        <p:nvSpPr>
          <p:cNvPr id="6" name="Tittel 5">
            <a:extLst>
              <a:ext uri="{FF2B5EF4-FFF2-40B4-BE49-F238E27FC236}">
                <a16:creationId xmlns:a16="http://schemas.microsoft.com/office/drawing/2014/main" id="{3DA25767-2F24-7047-B393-7D3AA4618D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6937" y="2697625"/>
            <a:ext cx="11212069" cy="2149474"/>
          </a:xfrm>
        </p:spPr>
        <p:txBody>
          <a:bodyPr anchor="b" anchorCtr="0">
            <a:normAutofit/>
          </a:bodyPr>
          <a:lstStyle>
            <a:lvl1pPr>
              <a:defRPr sz="5400"/>
            </a:lvl1pPr>
          </a:lstStyle>
          <a:p>
            <a:r>
              <a:rPr lang="nb-NO" dirty="0"/>
              <a:t>Kapittel tittel</a:t>
            </a:r>
          </a:p>
        </p:txBody>
      </p:sp>
    </p:spTree>
    <p:extLst>
      <p:ext uri="{BB962C8B-B14F-4D97-AF65-F5344CB8AC3E}">
        <p14:creationId xmlns:p14="http://schemas.microsoft.com/office/powerpoint/2010/main" val="27803560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A - with image">
    <p:bg>
      <p:bgPr>
        <a:solidFill>
          <a:srgbClr val="DBF0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E58864-D613-E442-98F2-A61AE2F7FAC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9007" y="4985259"/>
            <a:ext cx="11212069" cy="1185735"/>
          </a:xfrm>
        </p:spPr>
        <p:txBody>
          <a:bodyPr>
            <a:normAutofit/>
          </a:bodyPr>
          <a:lstStyle>
            <a:lvl1pPr marL="0" indent="0">
              <a:buNone/>
              <a:defRPr sz="2400" b="0"/>
            </a:lvl1pPr>
            <a:lvl2pPr marL="457200" indent="0">
              <a:lnSpc>
                <a:spcPts val="3200"/>
              </a:lnSpc>
              <a:buNone/>
              <a:defRPr/>
            </a:lvl2pPr>
            <a:lvl3pPr>
              <a:defRPr sz="2400" b="0"/>
            </a:lvl3pPr>
            <a:lvl4pPr>
              <a:defRPr sz="2400" b="0"/>
            </a:lvl4pPr>
            <a:lvl5pPr>
              <a:defRPr sz="2400" b="0"/>
            </a:lvl5pPr>
          </a:lstStyle>
          <a:p>
            <a:pPr lvl="0"/>
            <a:r>
              <a:rPr lang="en-US" dirty="0"/>
              <a:t>Second level</a:t>
            </a:r>
            <a:endParaRPr lang="nb-NO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7D756D-2099-A44A-838F-CDD66E56E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2FD1F8-2AB8-3441-B25E-D3234666B480}" type="datetime1">
              <a:rPr lang="nb-NO" smtClean="0"/>
              <a:t>07.05.2021</a:t>
            </a:fld>
            <a:endParaRPr lang="nb-NO"/>
          </a:p>
        </p:txBody>
      </p:sp>
      <p:pic>
        <p:nvPicPr>
          <p:cNvPr id="9" name="Picture 5">
            <a:extLst>
              <a:ext uri="{FF2B5EF4-FFF2-40B4-BE49-F238E27FC236}">
                <a16:creationId xmlns:a16="http://schemas.microsoft.com/office/drawing/2014/main" id="{2943858E-FB19-B949-96AA-3190E5D564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8658" y="6440567"/>
            <a:ext cx="744333" cy="211863"/>
          </a:xfrm>
          <a:prstGeom prst="rect">
            <a:avLst/>
          </a:prstGeom>
        </p:spPr>
      </p:pic>
      <p:sp>
        <p:nvSpPr>
          <p:cNvPr id="6" name="Tittel 5">
            <a:extLst>
              <a:ext uri="{FF2B5EF4-FFF2-40B4-BE49-F238E27FC236}">
                <a16:creationId xmlns:a16="http://schemas.microsoft.com/office/drawing/2014/main" id="{3DA25767-2F24-7047-B393-7D3AA4618D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6937" y="2697625"/>
            <a:ext cx="11212069" cy="2149474"/>
          </a:xfrm>
        </p:spPr>
        <p:txBody>
          <a:bodyPr anchor="b" anchorCtr="0">
            <a:normAutofit/>
          </a:bodyPr>
          <a:lstStyle>
            <a:lvl1pPr>
              <a:defRPr sz="5400"/>
            </a:lvl1pPr>
          </a:lstStyle>
          <a:p>
            <a:r>
              <a:rPr lang="nb-NO" dirty="0"/>
              <a:t>Kapittel tittel</a:t>
            </a:r>
          </a:p>
        </p:txBody>
      </p:sp>
      <p:sp>
        <p:nvSpPr>
          <p:cNvPr id="8" name="Plassholder for bilde 4">
            <a:extLst>
              <a:ext uri="{FF2B5EF4-FFF2-40B4-BE49-F238E27FC236}">
                <a16:creationId xmlns:a16="http://schemas.microsoft.com/office/drawing/2014/main" id="{179618E9-1BDF-F64F-98BC-B86C1F054E3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36650" y="-489858"/>
            <a:ext cx="12244416" cy="4084396"/>
          </a:xfrm>
          <a:custGeom>
            <a:avLst/>
            <a:gdLst>
              <a:gd name="connsiteX0" fmla="*/ 0 w 12212885"/>
              <a:gd name="connsiteY0" fmla="*/ 0 h 3463604"/>
              <a:gd name="connsiteX1" fmla="*/ 12212885 w 12212885"/>
              <a:gd name="connsiteY1" fmla="*/ 0 h 3463604"/>
              <a:gd name="connsiteX2" fmla="*/ 12212885 w 12212885"/>
              <a:gd name="connsiteY2" fmla="*/ 3463604 h 3463604"/>
              <a:gd name="connsiteX3" fmla="*/ 0 w 12212885"/>
              <a:gd name="connsiteY3" fmla="*/ 3463604 h 3463604"/>
              <a:gd name="connsiteX4" fmla="*/ 0 w 12212885"/>
              <a:gd name="connsiteY4" fmla="*/ 0 h 3463604"/>
              <a:gd name="connsiteX0" fmla="*/ 0 w 12212885"/>
              <a:gd name="connsiteY0" fmla="*/ 0 h 3484179"/>
              <a:gd name="connsiteX1" fmla="*/ 12212885 w 12212885"/>
              <a:gd name="connsiteY1" fmla="*/ 0 h 3484179"/>
              <a:gd name="connsiteX2" fmla="*/ 12212885 w 12212885"/>
              <a:gd name="connsiteY2" fmla="*/ 3463604 h 3484179"/>
              <a:gd name="connsiteX3" fmla="*/ 9022995 w 12212885"/>
              <a:gd name="connsiteY3" fmla="*/ 3484179 h 3484179"/>
              <a:gd name="connsiteX4" fmla="*/ 0 w 12212885"/>
              <a:gd name="connsiteY4" fmla="*/ 3463604 h 3484179"/>
              <a:gd name="connsiteX5" fmla="*/ 0 w 12212885"/>
              <a:gd name="connsiteY5" fmla="*/ 0 h 3484179"/>
              <a:gd name="connsiteX0" fmla="*/ 0 w 12228651"/>
              <a:gd name="connsiteY0" fmla="*/ 0 h 3484179"/>
              <a:gd name="connsiteX1" fmla="*/ 12212885 w 12228651"/>
              <a:gd name="connsiteY1" fmla="*/ 0 h 3484179"/>
              <a:gd name="connsiteX2" fmla="*/ 12228651 w 12228651"/>
              <a:gd name="connsiteY2" fmla="*/ 3164059 h 3484179"/>
              <a:gd name="connsiteX3" fmla="*/ 9022995 w 12228651"/>
              <a:gd name="connsiteY3" fmla="*/ 3484179 h 3484179"/>
              <a:gd name="connsiteX4" fmla="*/ 0 w 12228651"/>
              <a:gd name="connsiteY4" fmla="*/ 3463604 h 3484179"/>
              <a:gd name="connsiteX5" fmla="*/ 0 w 12228651"/>
              <a:gd name="connsiteY5" fmla="*/ 0 h 3484179"/>
              <a:gd name="connsiteX0" fmla="*/ 0 w 12228651"/>
              <a:gd name="connsiteY0" fmla="*/ 0 h 3484179"/>
              <a:gd name="connsiteX1" fmla="*/ 12212885 w 12228651"/>
              <a:gd name="connsiteY1" fmla="*/ 0 h 3484179"/>
              <a:gd name="connsiteX2" fmla="*/ 12228651 w 12228651"/>
              <a:gd name="connsiteY2" fmla="*/ 3164059 h 3484179"/>
              <a:gd name="connsiteX3" fmla="*/ 9022995 w 12228651"/>
              <a:gd name="connsiteY3" fmla="*/ 3484179 h 3484179"/>
              <a:gd name="connsiteX4" fmla="*/ 0 w 12228651"/>
              <a:gd name="connsiteY4" fmla="*/ 3463604 h 3484179"/>
              <a:gd name="connsiteX5" fmla="*/ 0 w 12228651"/>
              <a:gd name="connsiteY5" fmla="*/ 0 h 3484179"/>
              <a:gd name="connsiteX0" fmla="*/ 15765 w 12244416"/>
              <a:gd name="connsiteY0" fmla="*/ 0 h 3484179"/>
              <a:gd name="connsiteX1" fmla="*/ 12228650 w 12244416"/>
              <a:gd name="connsiteY1" fmla="*/ 0 h 3484179"/>
              <a:gd name="connsiteX2" fmla="*/ 12244416 w 12244416"/>
              <a:gd name="connsiteY2" fmla="*/ 3164059 h 3484179"/>
              <a:gd name="connsiteX3" fmla="*/ 9038760 w 12244416"/>
              <a:gd name="connsiteY3" fmla="*/ 3484179 h 3484179"/>
              <a:gd name="connsiteX4" fmla="*/ 0 w 12244416"/>
              <a:gd name="connsiteY4" fmla="*/ 610046 h 3484179"/>
              <a:gd name="connsiteX5" fmla="*/ 15765 w 12244416"/>
              <a:gd name="connsiteY5" fmla="*/ 0 h 3484179"/>
              <a:gd name="connsiteX0" fmla="*/ 15765 w 12244416"/>
              <a:gd name="connsiteY0" fmla="*/ 0 h 3484179"/>
              <a:gd name="connsiteX1" fmla="*/ 12228650 w 12244416"/>
              <a:gd name="connsiteY1" fmla="*/ 0 h 3484179"/>
              <a:gd name="connsiteX2" fmla="*/ 12244416 w 12244416"/>
              <a:gd name="connsiteY2" fmla="*/ 3164059 h 3484179"/>
              <a:gd name="connsiteX3" fmla="*/ 9038760 w 12244416"/>
              <a:gd name="connsiteY3" fmla="*/ 3484179 h 3484179"/>
              <a:gd name="connsiteX4" fmla="*/ 0 w 12244416"/>
              <a:gd name="connsiteY4" fmla="*/ 610046 h 3484179"/>
              <a:gd name="connsiteX5" fmla="*/ 15765 w 12244416"/>
              <a:gd name="connsiteY5" fmla="*/ 0 h 3484179"/>
              <a:gd name="connsiteX0" fmla="*/ 15765 w 12244416"/>
              <a:gd name="connsiteY0" fmla="*/ 0 h 3167582"/>
              <a:gd name="connsiteX1" fmla="*/ 12228650 w 12244416"/>
              <a:gd name="connsiteY1" fmla="*/ 0 h 3167582"/>
              <a:gd name="connsiteX2" fmla="*/ 12244416 w 12244416"/>
              <a:gd name="connsiteY2" fmla="*/ 3164059 h 3167582"/>
              <a:gd name="connsiteX3" fmla="*/ 0 w 12244416"/>
              <a:gd name="connsiteY3" fmla="*/ 610046 h 3167582"/>
              <a:gd name="connsiteX4" fmla="*/ 15765 w 12244416"/>
              <a:gd name="connsiteY4" fmla="*/ 0 h 3167582"/>
              <a:gd name="connsiteX0" fmla="*/ 15765 w 12244416"/>
              <a:gd name="connsiteY0" fmla="*/ 0 h 3432561"/>
              <a:gd name="connsiteX1" fmla="*/ 12228650 w 12244416"/>
              <a:gd name="connsiteY1" fmla="*/ 0 h 3432561"/>
              <a:gd name="connsiteX2" fmla="*/ 12244416 w 12244416"/>
              <a:gd name="connsiteY2" fmla="*/ 3164059 h 3432561"/>
              <a:gd name="connsiteX3" fmla="*/ 0 w 12244416"/>
              <a:gd name="connsiteY3" fmla="*/ 610046 h 3432561"/>
              <a:gd name="connsiteX4" fmla="*/ 15765 w 12244416"/>
              <a:gd name="connsiteY4" fmla="*/ 0 h 3432561"/>
              <a:gd name="connsiteX0" fmla="*/ 15765 w 12244416"/>
              <a:gd name="connsiteY0" fmla="*/ 0 h 3473369"/>
              <a:gd name="connsiteX1" fmla="*/ 12228650 w 12244416"/>
              <a:gd name="connsiteY1" fmla="*/ 0 h 3473369"/>
              <a:gd name="connsiteX2" fmla="*/ 12244416 w 12244416"/>
              <a:gd name="connsiteY2" fmla="*/ 3164059 h 3473369"/>
              <a:gd name="connsiteX3" fmla="*/ 0 w 12244416"/>
              <a:gd name="connsiteY3" fmla="*/ 610046 h 3473369"/>
              <a:gd name="connsiteX4" fmla="*/ 15765 w 12244416"/>
              <a:gd name="connsiteY4" fmla="*/ 0 h 3473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44416" h="3473369">
                <a:moveTo>
                  <a:pt x="15765" y="0"/>
                </a:moveTo>
                <a:lnTo>
                  <a:pt x="12228650" y="0"/>
                </a:lnTo>
                <a:cubicBezTo>
                  <a:pt x="12233905" y="1054686"/>
                  <a:pt x="12239161" y="2109373"/>
                  <a:pt x="12244416" y="3164059"/>
                </a:cubicBezTo>
                <a:cubicBezTo>
                  <a:pt x="10742335" y="3360326"/>
                  <a:pt x="5837598" y="4511209"/>
                  <a:pt x="0" y="610046"/>
                </a:cubicBezTo>
                <a:lnTo>
                  <a:pt x="15765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8530258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B">
    <p:bg>
      <p:bgPr>
        <a:solidFill>
          <a:srgbClr val="0033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E58864-D613-E442-98F2-A61AE2F7FAC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9007" y="4985259"/>
            <a:ext cx="11212069" cy="1185735"/>
          </a:xfrm>
        </p:spPr>
        <p:txBody>
          <a:bodyPr>
            <a:normAutofit/>
          </a:bodyPr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457200" indent="0">
              <a:lnSpc>
                <a:spcPts val="3200"/>
              </a:lnSpc>
              <a:buNone/>
              <a:defRPr/>
            </a:lvl2pPr>
            <a:lvl3pPr>
              <a:defRPr sz="2400" b="0"/>
            </a:lvl3pPr>
            <a:lvl4pPr>
              <a:defRPr sz="2400" b="0"/>
            </a:lvl4pPr>
            <a:lvl5pPr>
              <a:defRPr sz="2400" b="0"/>
            </a:lvl5pPr>
          </a:lstStyle>
          <a:p>
            <a:pPr lvl="0"/>
            <a:r>
              <a:rPr lang="en-US" dirty="0"/>
              <a:t>Second level</a:t>
            </a:r>
            <a:endParaRPr lang="nb-NO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7D756D-2099-A44A-838F-CDD66E56E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43FF4E6-58C8-7F4B-9D69-F52DADEF37D9}" type="datetime1">
              <a:rPr lang="nb-NO" smtClean="0"/>
              <a:t>07.05.2021</a:t>
            </a:fld>
            <a:endParaRPr lang="nb-NO" dirty="0"/>
          </a:p>
        </p:txBody>
      </p:sp>
      <p:pic>
        <p:nvPicPr>
          <p:cNvPr id="9" name="Picture 5">
            <a:extLst>
              <a:ext uri="{FF2B5EF4-FFF2-40B4-BE49-F238E27FC236}">
                <a16:creationId xmlns:a16="http://schemas.microsoft.com/office/drawing/2014/main" id="{2943858E-FB19-B949-96AA-3190E5D564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8658" y="6440567"/>
            <a:ext cx="744333" cy="211863"/>
          </a:xfrm>
          <a:prstGeom prst="rect">
            <a:avLst/>
          </a:prstGeom>
        </p:spPr>
      </p:pic>
      <p:sp>
        <p:nvSpPr>
          <p:cNvPr id="6" name="Tittel 5">
            <a:extLst>
              <a:ext uri="{FF2B5EF4-FFF2-40B4-BE49-F238E27FC236}">
                <a16:creationId xmlns:a16="http://schemas.microsoft.com/office/drawing/2014/main" id="{3DA25767-2F24-7047-B393-7D3AA4618D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6937" y="2697625"/>
            <a:ext cx="11212069" cy="2149474"/>
          </a:xfrm>
        </p:spPr>
        <p:txBody>
          <a:bodyPr anchor="b" anchorCtr="0">
            <a:normAutofit/>
          </a:bodyPr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apittel tittel</a:t>
            </a:r>
          </a:p>
        </p:txBody>
      </p:sp>
      <p:pic>
        <p:nvPicPr>
          <p:cNvPr id="7" name="Picture 13">
            <a:extLst>
              <a:ext uri="{FF2B5EF4-FFF2-40B4-BE49-F238E27FC236}">
                <a16:creationId xmlns:a16="http://schemas.microsoft.com/office/drawing/2014/main" id="{CB593804-6596-E243-98E8-FD629FF4797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898658" y="6440566"/>
            <a:ext cx="744334" cy="2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887799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B - with image">
    <p:bg>
      <p:bgPr>
        <a:solidFill>
          <a:srgbClr val="0033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E58864-D613-E442-98F2-A61AE2F7FAC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9007" y="4985259"/>
            <a:ext cx="11212069" cy="1185735"/>
          </a:xfrm>
        </p:spPr>
        <p:txBody>
          <a:bodyPr>
            <a:normAutofit/>
          </a:bodyPr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457200" indent="0">
              <a:lnSpc>
                <a:spcPts val="3200"/>
              </a:lnSpc>
              <a:buNone/>
              <a:defRPr/>
            </a:lvl2pPr>
            <a:lvl3pPr>
              <a:defRPr sz="2400" b="0"/>
            </a:lvl3pPr>
            <a:lvl4pPr>
              <a:defRPr sz="2400" b="0"/>
            </a:lvl4pPr>
            <a:lvl5pPr>
              <a:defRPr sz="2400" b="0"/>
            </a:lvl5pPr>
          </a:lstStyle>
          <a:p>
            <a:pPr lvl="0"/>
            <a:r>
              <a:rPr lang="en-US" dirty="0"/>
              <a:t>Second level</a:t>
            </a:r>
            <a:endParaRPr lang="nb-NO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7D756D-2099-A44A-838F-CDD66E56E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43FF4E6-58C8-7F4B-9D69-F52DADEF37D9}" type="datetime1">
              <a:rPr lang="nb-NO" smtClean="0"/>
              <a:t>07.05.2021</a:t>
            </a:fld>
            <a:endParaRPr lang="nb-NO" dirty="0"/>
          </a:p>
        </p:txBody>
      </p:sp>
      <p:pic>
        <p:nvPicPr>
          <p:cNvPr id="9" name="Picture 5">
            <a:extLst>
              <a:ext uri="{FF2B5EF4-FFF2-40B4-BE49-F238E27FC236}">
                <a16:creationId xmlns:a16="http://schemas.microsoft.com/office/drawing/2014/main" id="{2943858E-FB19-B949-96AA-3190E5D564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8658" y="6440567"/>
            <a:ext cx="744333" cy="211863"/>
          </a:xfrm>
          <a:prstGeom prst="rect">
            <a:avLst/>
          </a:prstGeom>
        </p:spPr>
      </p:pic>
      <p:sp>
        <p:nvSpPr>
          <p:cNvPr id="6" name="Tittel 5">
            <a:extLst>
              <a:ext uri="{FF2B5EF4-FFF2-40B4-BE49-F238E27FC236}">
                <a16:creationId xmlns:a16="http://schemas.microsoft.com/office/drawing/2014/main" id="{3DA25767-2F24-7047-B393-7D3AA4618D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6937" y="2697625"/>
            <a:ext cx="11212069" cy="2149474"/>
          </a:xfrm>
        </p:spPr>
        <p:txBody>
          <a:bodyPr anchor="b" anchorCtr="0">
            <a:normAutofit/>
          </a:bodyPr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apittel tittel</a:t>
            </a:r>
          </a:p>
        </p:txBody>
      </p:sp>
      <p:pic>
        <p:nvPicPr>
          <p:cNvPr id="7" name="Picture 13">
            <a:extLst>
              <a:ext uri="{FF2B5EF4-FFF2-40B4-BE49-F238E27FC236}">
                <a16:creationId xmlns:a16="http://schemas.microsoft.com/office/drawing/2014/main" id="{CB593804-6596-E243-98E8-FD629FF4797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898658" y="6440566"/>
            <a:ext cx="744334" cy="211863"/>
          </a:xfrm>
          <a:prstGeom prst="rect">
            <a:avLst/>
          </a:prstGeom>
        </p:spPr>
      </p:pic>
      <p:sp>
        <p:nvSpPr>
          <p:cNvPr id="8" name="Plassholder for bilde 4">
            <a:extLst>
              <a:ext uri="{FF2B5EF4-FFF2-40B4-BE49-F238E27FC236}">
                <a16:creationId xmlns:a16="http://schemas.microsoft.com/office/drawing/2014/main" id="{5CAF5EBD-C508-2044-822C-8C9D974934F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489858"/>
            <a:ext cx="12244416" cy="4084396"/>
          </a:xfrm>
          <a:custGeom>
            <a:avLst/>
            <a:gdLst>
              <a:gd name="connsiteX0" fmla="*/ 0 w 12212885"/>
              <a:gd name="connsiteY0" fmla="*/ 0 h 3463604"/>
              <a:gd name="connsiteX1" fmla="*/ 12212885 w 12212885"/>
              <a:gd name="connsiteY1" fmla="*/ 0 h 3463604"/>
              <a:gd name="connsiteX2" fmla="*/ 12212885 w 12212885"/>
              <a:gd name="connsiteY2" fmla="*/ 3463604 h 3463604"/>
              <a:gd name="connsiteX3" fmla="*/ 0 w 12212885"/>
              <a:gd name="connsiteY3" fmla="*/ 3463604 h 3463604"/>
              <a:gd name="connsiteX4" fmla="*/ 0 w 12212885"/>
              <a:gd name="connsiteY4" fmla="*/ 0 h 3463604"/>
              <a:gd name="connsiteX0" fmla="*/ 0 w 12212885"/>
              <a:gd name="connsiteY0" fmla="*/ 0 h 3484179"/>
              <a:gd name="connsiteX1" fmla="*/ 12212885 w 12212885"/>
              <a:gd name="connsiteY1" fmla="*/ 0 h 3484179"/>
              <a:gd name="connsiteX2" fmla="*/ 12212885 w 12212885"/>
              <a:gd name="connsiteY2" fmla="*/ 3463604 h 3484179"/>
              <a:gd name="connsiteX3" fmla="*/ 9022995 w 12212885"/>
              <a:gd name="connsiteY3" fmla="*/ 3484179 h 3484179"/>
              <a:gd name="connsiteX4" fmla="*/ 0 w 12212885"/>
              <a:gd name="connsiteY4" fmla="*/ 3463604 h 3484179"/>
              <a:gd name="connsiteX5" fmla="*/ 0 w 12212885"/>
              <a:gd name="connsiteY5" fmla="*/ 0 h 3484179"/>
              <a:gd name="connsiteX0" fmla="*/ 0 w 12228651"/>
              <a:gd name="connsiteY0" fmla="*/ 0 h 3484179"/>
              <a:gd name="connsiteX1" fmla="*/ 12212885 w 12228651"/>
              <a:gd name="connsiteY1" fmla="*/ 0 h 3484179"/>
              <a:gd name="connsiteX2" fmla="*/ 12228651 w 12228651"/>
              <a:gd name="connsiteY2" fmla="*/ 3164059 h 3484179"/>
              <a:gd name="connsiteX3" fmla="*/ 9022995 w 12228651"/>
              <a:gd name="connsiteY3" fmla="*/ 3484179 h 3484179"/>
              <a:gd name="connsiteX4" fmla="*/ 0 w 12228651"/>
              <a:gd name="connsiteY4" fmla="*/ 3463604 h 3484179"/>
              <a:gd name="connsiteX5" fmla="*/ 0 w 12228651"/>
              <a:gd name="connsiteY5" fmla="*/ 0 h 3484179"/>
              <a:gd name="connsiteX0" fmla="*/ 0 w 12228651"/>
              <a:gd name="connsiteY0" fmla="*/ 0 h 3484179"/>
              <a:gd name="connsiteX1" fmla="*/ 12212885 w 12228651"/>
              <a:gd name="connsiteY1" fmla="*/ 0 h 3484179"/>
              <a:gd name="connsiteX2" fmla="*/ 12228651 w 12228651"/>
              <a:gd name="connsiteY2" fmla="*/ 3164059 h 3484179"/>
              <a:gd name="connsiteX3" fmla="*/ 9022995 w 12228651"/>
              <a:gd name="connsiteY3" fmla="*/ 3484179 h 3484179"/>
              <a:gd name="connsiteX4" fmla="*/ 0 w 12228651"/>
              <a:gd name="connsiteY4" fmla="*/ 3463604 h 3484179"/>
              <a:gd name="connsiteX5" fmla="*/ 0 w 12228651"/>
              <a:gd name="connsiteY5" fmla="*/ 0 h 3484179"/>
              <a:gd name="connsiteX0" fmla="*/ 15765 w 12244416"/>
              <a:gd name="connsiteY0" fmla="*/ 0 h 3484179"/>
              <a:gd name="connsiteX1" fmla="*/ 12228650 w 12244416"/>
              <a:gd name="connsiteY1" fmla="*/ 0 h 3484179"/>
              <a:gd name="connsiteX2" fmla="*/ 12244416 w 12244416"/>
              <a:gd name="connsiteY2" fmla="*/ 3164059 h 3484179"/>
              <a:gd name="connsiteX3" fmla="*/ 9038760 w 12244416"/>
              <a:gd name="connsiteY3" fmla="*/ 3484179 h 3484179"/>
              <a:gd name="connsiteX4" fmla="*/ 0 w 12244416"/>
              <a:gd name="connsiteY4" fmla="*/ 610046 h 3484179"/>
              <a:gd name="connsiteX5" fmla="*/ 15765 w 12244416"/>
              <a:gd name="connsiteY5" fmla="*/ 0 h 3484179"/>
              <a:gd name="connsiteX0" fmla="*/ 15765 w 12244416"/>
              <a:gd name="connsiteY0" fmla="*/ 0 h 3484179"/>
              <a:gd name="connsiteX1" fmla="*/ 12228650 w 12244416"/>
              <a:gd name="connsiteY1" fmla="*/ 0 h 3484179"/>
              <a:gd name="connsiteX2" fmla="*/ 12244416 w 12244416"/>
              <a:gd name="connsiteY2" fmla="*/ 3164059 h 3484179"/>
              <a:gd name="connsiteX3" fmla="*/ 9038760 w 12244416"/>
              <a:gd name="connsiteY3" fmla="*/ 3484179 h 3484179"/>
              <a:gd name="connsiteX4" fmla="*/ 0 w 12244416"/>
              <a:gd name="connsiteY4" fmla="*/ 610046 h 3484179"/>
              <a:gd name="connsiteX5" fmla="*/ 15765 w 12244416"/>
              <a:gd name="connsiteY5" fmla="*/ 0 h 3484179"/>
              <a:gd name="connsiteX0" fmla="*/ 15765 w 12244416"/>
              <a:gd name="connsiteY0" fmla="*/ 0 h 3167582"/>
              <a:gd name="connsiteX1" fmla="*/ 12228650 w 12244416"/>
              <a:gd name="connsiteY1" fmla="*/ 0 h 3167582"/>
              <a:gd name="connsiteX2" fmla="*/ 12244416 w 12244416"/>
              <a:gd name="connsiteY2" fmla="*/ 3164059 h 3167582"/>
              <a:gd name="connsiteX3" fmla="*/ 0 w 12244416"/>
              <a:gd name="connsiteY3" fmla="*/ 610046 h 3167582"/>
              <a:gd name="connsiteX4" fmla="*/ 15765 w 12244416"/>
              <a:gd name="connsiteY4" fmla="*/ 0 h 3167582"/>
              <a:gd name="connsiteX0" fmla="*/ 15765 w 12244416"/>
              <a:gd name="connsiteY0" fmla="*/ 0 h 3432561"/>
              <a:gd name="connsiteX1" fmla="*/ 12228650 w 12244416"/>
              <a:gd name="connsiteY1" fmla="*/ 0 h 3432561"/>
              <a:gd name="connsiteX2" fmla="*/ 12244416 w 12244416"/>
              <a:gd name="connsiteY2" fmla="*/ 3164059 h 3432561"/>
              <a:gd name="connsiteX3" fmla="*/ 0 w 12244416"/>
              <a:gd name="connsiteY3" fmla="*/ 610046 h 3432561"/>
              <a:gd name="connsiteX4" fmla="*/ 15765 w 12244416"/>
              <a:gd name="connsiteY4" fmla="*/ 0 h 3432561"/>
              <a:gd name="connsiteX0" fmla="*/ 15765 w 12244416"/>
              <a:gd name="connsiteY0" fmla="*/ 0 h 3473369"/>
              <a:gd name="connsiteX1" fmla="*/ 12228650 w 12244416"/>
              <a:gd name="connsiteY1" fmla="*/ 0 h 3473369"/>
              <a:gd name="connsiteX2" fmla="*/ 12244416 w 12244416"/>
              <a:gd name="connsiteY2" fmla="*/ 3164059 h 3473369"/>
              <a:gd name="connsiteX3" fmla="*/ 0 w 12244416"/>
              <a:gd name="connsiteY3" fmla="*/ 610046 h 3473369"/>
              <a:gd name="connsiteX4" fmla="*/ 15765 w 12244416"/>
              <a:gd name="connsiteY4" fmla="*/ 0 h 3473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44416" h="3473369">
                <a:moveTo>
                  <a:pt x="15765" y="0"/>
                </a:moveTo>
                <a:lnTo>
                  <a:pt x="12228650" y="0"/>
                </a:lnTo>
                <a:cubicBezTo>
                  <a:pt x="12233905" y="1054686"/>
                  <a:pt x="12239161" y="2109373"/>
                  <a:pt x="12244416" y="3164059"/>
                </a:cubicBezTo>
                <a:cubicBezTo>
                  <a:pt x="10742335" y="3360326"/>
                  <a:pt x="5837598" y="4511209"/>
                  <a:pt x="0" y="610046"/>
                </a:cubicBezTo>
                <a:lnTo>
                  <a:pt x="15765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nb-NO"/>
              <a:t>Klikk på ikonet for å legge til et b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368927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ktangel 12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>
              <a:solidFill>
                <a:schemeClr val="bg1"/>
              </a:solidFill>
            </a:endParaRPr>
          </a:p>
        </p:txBody>
      </p:sp>
      <p:sp>
        <p:nvSpPr>
          <p:cNvPr id="11" name="Rektangel 1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>
              <a:solidFill>
                <a:schemeClr val="bg1"/>
              </a:solidFill>
            </a:endParaRPr>
          </a:p>
        </p:txBody>
      </p:sp>
      <p:sp>
        <p:nvSpPr>
          <p:cNvPr id="7" name="Rektangel 6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11AD42-ED7A-4C6E-8347-826D2249171C}" type="datetimeFigureOut">
              <a:rPr lang="nb-NO" smtClean="0"/>
              <a:t>07.05.2021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82B9B1-E5CC-4162-9683-1B7647BECBD6}" type="slidenum">
              <a:rPr lang="nb-NO" smtClean="0"/>
              <a:t>‹#›</a:t>
            </a:fld>
            <a:endParaRPr lang="nb-NO"/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8400" y="219600"/>
            <a:ext cx="1353600" cy="3852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4698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32" imgH="530" progId="TCLayout.ActiveDocument.1">
                  <p:embed/>
                </p:oleObj>
              </mc:Choice>
              <mc:Fallback>
                <p:oleObj name="think-cell Slide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9557" y="6409099"/>
            <a:ext cx="360037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nb-NO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r>
              <a:rPr kumimoji="0" lang="nb-NO" sz="900" b="1" i="0" u="none" strike="noStrike" kern="1200" cap="none" spc="0" normalizeH="0" baseline="0" noProof="0" dirty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</a:p>
        </p:txBody>
      </p:sp>
      <p:sp>
        <p:nvSpPr>
          <p:cNvPr id="10" name="Cadre 9">
            <a:extLst>
              <a:ext uri="{FF2B5EF4-FFF2-40B4-BE49-F238E27FC236}">
                <a16:creationId xmlns:a16="http://schemas.microsoft.com/office/drawing/2014/main" id="{890877FE-2B52-4BAA-A5B3-3185907E441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kstSylinder 18">
            <a:extLst>
              <a:ext uri="{FF2B5EF4-FFF2-40B4-BE49-F238E27FC236}">
                <a16:creationId xmlns:a16="http://schemas.microsoft.com/office/drawing/2014/main" id="{6475335D-06EE-4F59-AE09-C32AAF1C98E2}"/>
              </a:ext>
            </a:extLst>
          </p:cNvPr>
          <p:cNvSpPr txBox="1"/>
          <p:nvPr userDrawn="1"/>
        </p:nvSpPr>
        <p:spPr>
          <a:xfrm>
            <a:off x="9783798" y="283767"/>
            <a:ext cx="212006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BEDBFF">
                    <a:lumMod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RSKE SPISEFAKTA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0" i="0" u="none" strike="noStrike" kern="1200" cap="none" spc="0" normalizeH="0" baseline="0" noProof="0" dirty="0">
                <a:ln>
                  <a:noFill/>
                </a:ln>
                <a:solidFill>
                  <a:srgbClr val="BEDBFF">
                    <a:lumMod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0</a:t>
            </a: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srgbClr val="BEDBFF">
                  <a:lumMod val="10000"/>
                </a:srgbClr>
              </a:solidFill>
              <a:effectLst/>
              <a:uLnTx/>
              <a:uFillTx/>
              <a:latin typeface="Arial Blac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84766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tel og tosid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1" imgH="472" progId="TCLayout.ActiveDocument.1">
                  <p:embed/>
                </p:oleObj>
              </mc:Choice>
              <mc:Fallback>
                <p:oleObj name="think-cell Slide" r:id="rId3" imgW="471" imgH="472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11AD42-ED7A-4C6E-8347-826D2249171C}" type="datetimeFigureOut">
              <a:rPr lang="nb-NO" smtClean="0"/>
              <a:t>07.05.2021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82B9B1-E5CC-4162-9683-1B7647BECBD6}" type="slidenum">
              <a:rPr lang="nb-NO" smtClean="0"/>
              <a:t>‹#›</a:t>
            </a:fld>
            <a:endParaRPr lang="nb-NO"/>
          </a:p>
        </p:txBody>
      </p:sp>
      <p:sp>
        <p:nvSpPr>
          <p:cNvPr id="7" name="Rektangel 6"/>
          <p:cNvSpPr/>
          <p:nvPr/>
        </p:nvSpPr>
        <p:spPr>
          <a:xfrm>
            <a:off x="0" y="0"/>
            <a:ext cx="12192000" cy="7112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/>
          </p:nvPr>
        </p:nvSpPr>
        <p:spPr>
          <a:xfrm>
            <a:off x="409879" y="245837"/>
            <a:ext cx="7224636" cy="363764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133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1" name="TekstSylinder 10"/>
          <p:cNvSpPr txBox="1"/>
          <p:nvPr/>
        </p:nvSpPr>
        <p:spPr>
          <a:xfrm>
            <a:off x="1937084" y="561273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nb-NO" dirty="0"/>
          </a:p>
        </p:txBody>
      </p:sp>
      <p:sp>
        <p:nvSpPr>
          <p:cNvPr id="12" name="TekstSylinder 11"/>
          <p:cNvSpPr txBox="1"/>
          <p:nvPr/>
        </p:nvSpPr>
        <p:spPr>
          <a:xfrm>
            <a:off x="1937084" y="561273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nb-NO" dirty="0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91886" y="2466474"/>
            <a:ext cx="5449445" cy="3710490"/>
          </a:xfrm>
        </p:spPr>
        <p:txBody>
          <a:bodyPr/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nb-NO" sz="1800" b="0" kern="1200" dirty="0" smtClean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450850" indent="-227013">
              <a:defRPr sz="1800"/>
            </a:lvl2pPr>
            <a:lvl3pPr marL="804863" indent="-227013">
              <a:buSzPct val="120000"/>
              <a:buFont typeface="Calibri" panose="020F0502020204030204" pitchFamily="34" charset="0"/>
              <a:buChar char="◦"/>
              <a:defRPr sz="1800"/>
            </a:lvl3pPr>
            <a:lvl4pPr marL="1166813" indent="-227013">
              <a:buFont typeface="Wingdings" panose="05000000000000000000" pitchFamily="2" charset="2"/>
              <a:buChar char="§"/>
              <a:defRPr sz="1800"/>
            </a:lvl4pPr>
            <a:lvl5pPr marL="1433513" indent="-227013">
              <a:buFont typeface="Calibri" panose="020F0502020204030204" pitchFamily="34" charset="0"/>
              <a:buChar char="▫"/>
              <a:defRPr sz="1800"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idx="15"/>
          </p:nvPr>
        </p:nvSpPr>
        <p:spPr>
          <a:xfrm>
            <a:off x="6321641" y="2466474"/>
            <a:ext cx="5435905" cy="3710490"/>
          </a:xfrm>
        </p:spPr>
        <p:txBody>
          <a:bodyPr/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lang="nb-NO" sz="1800" b="0" kern="1200" dirty="0" smtClean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450850" indent="-227013">
              <a:defRPr sz="1800"/>
            </a:lvl2pPr>
            <a:lvl3pPr marL="804863" indent="-227013">
              <a:buSzPct val="120000"/>
              <a:buFont typeface="Calibri" panose="020F0502020204030204" pitchFamily="34" charset="0"/>
              <a:buChar char="◦"/>
              <a:defRPr sz="1800"/>
            </a:lvl3pPr>
            <a:lvl4pPr marL="1166813" indent="-227013">
              <a:buFont typeface="Wingdings" panose="05000000000000000000" pitchFamily="2" charset="2"/>
              <a:buChar char="§"/>
              <a:defRPr sz="1800"/>
            </a:lvl4pPr>
            <a:lvl5pPr marL="1433513" indent="-227013">
              <a:buFont typeface="Calibri" panose="020F0502020204030204" pitchFamily="34" charset="0"/>
              <a:buChar char="▫"/>
              <a:defRPr sz="1800"/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391886" y="841827"/>
            <a:ext cx="11364687" cy="790803"/>
          </a:xfrm>
        </p:spPr>
        <p:txBody>
          <a:bodyPr>
            <a:noAutofit/>
          </a:bodyPr>
          <a:lstStyle>
            <a:lvl1pPr>
              <a:defRPr sz="2800" b="1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23" name="Plassholder for tekst 22"/>
          <p:cNvSpPr>
            <a:spLocks noGrp="1"/>
          </p:cNvSpPr>
          <p:nvPr>
            <p:ph type="body" sz="quarter" idx="19"/>
          </p:nvPr>
        </p:nvSpPr>
        <p:spPr>
          <a:xfrm>
            <a:off x="391886" y="1844675"/>
            <a:ext cx="5449445" cy="505672"/>
          </a:xfrm>
          <a:solidFill>
            <a:schemeClr val="bg1"/>
          </a:solidFill>
          <a:effectLst>
            <a:outerShdw dist="25400" dir="5400000" algn="t" rotWithShape="0">
              <a:schemeClr val="tx2"/>
            </a:outerShdw>
          </a:effectLst>
        </p:spPr>
        <p:txBody>
          <a:bodyPr anchor="b"/>
          <a:lstStyle>
            <a:lvl1pPr marL="0" indent="0" algn="ctr">
              <a:buNone/>
              <a:defRPr sz="1800"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4" name="Plassholder for tekst 22"/>
          <p:cNvSpPr>
            <a:spLocks noGrp="1"/>
          </p:cNvSpPr>
          <p:nvPr>
            <p:ph type="body" sz="quarter" idx="20"/>
          </p:nvPr>
        </p:nvSpPr>
        <p:spPr>
          <a:xfrm>
            <a:off x="6307128" y="1844675"/>
            <a:ext cx="5449445" cy="505672"/>
          </a:xfrm>
          <a:solidFill>
            <a:schemeClr val="bg1"/>
          </a:solidFill>
          <a:effectLst>
            <a:outerShdw dist="25400" dir="5400000" algn="t" rotWithShape="0">
              <a:schemeClr val="tx2"/>
            </a:outerShdw>
          </a:effectLst>
        </p:spPr>
        <p:txBody>
          <a:bodyPr anchor="b"/>
          <a:lstStyle>
            <a:lvl1pPr marL="0" indent="0" algn="ctr">
              <a:buNone/>
              <a:defRPr sz="1800"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pic>
        <p:nvPicPr>
          <p:cNvPr id="2" name="Bilde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8401" y="219600"/>
            <a:ext cx="1353405" cy="38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2376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62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Ingen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1" imgH="472" progId="TCLayout.ActiveDocument.1">
                  <p:embed/>
                </p:oleObj>
              </mc:Choice>
              <mc:Fallback>
                <p:oleObj name="think-cell Slide" r:id="rId3" imgW="471" imgH="472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11AD42-ED7A-4C6E-8347-826D2249171C}" type="datetimeFigureOut">
              <a:rPr lang="nb-NO" smtClean="0"/>
              <a:t>07.05.2021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82B9B1-E5CC-4162-9683-1B7647BECBD6}" type="slidenum">
              <a:rPr lang="nb-NO" smtClean="0"/>
              <a:t>‹#›</a:t>
            </a:fld>
            <a:endParaRPr lang="nb-NO"/>
          </a:p>
        </p:txBody>
      </p:sp>
      <p:sp>
        <p:nvSpPr>
          <p:cNvPr id="7" name="Rektangel 6"/>
          <p:cNvSpPr/>
          <p:nvPr/>
        </p:nvSpPr>
        <p:spPr>
          <a:xfrm>
            <a:off x="0" y="0"/>
            <a:ext cx="12192000" cy="7112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/>
          </p:nvPr>
        </p:nvSpPr>
        <p:spPr>
          <a:xfrm>
            <a:off x="409879" y="245837"/>
            <a:ext cx="7224636" cy="363764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133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1" name="TekstSylinder 10"/>
          <p:cNvSpPr txBox="1"/>
          <p:nvPr/>
        </p:nvSpPr>
        <p:spPr>
          <a:xfrm>
            <a:off x="1937084" y="561273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nb-NO" dirty="0"/>
          </a:p>
        </p:txBody>
      </p:sp>
      <p:sp>
        <p:nvSpPr>
          <p:cNvPr id="12" name="TekstSylinder 11"/>
          <p:cNvSpPr txBox="1"/>
          <p:nvPr/>
        </p:nvSpPr>
        <p:spPr>
          <a:xfrm>
            <a:off x="1937084" y="561273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nb-NO" dirty="0"/>
          </a:p>
        </p:txBody>
      </p:sp>
      <p:pic>
        <p:nvPicPr>
          <p:cNvPr id="2" name="Bilde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8400" y="219600"/>
            <a:ext cx="1353405" cy="38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59194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8548183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1" imgH="472" progId="TCLayout.ActiveDocument.1">
                  <p:embed/>
                </p:oleObj>
              </mc:Choice>
              <mc:Fallback>
                <p:oleObj name="think-cell Slide" r:id="rId3" imgW="471" imgH="472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1886" y="841827"/>
            <a:ext cx="11364687" cy="790803"/>
          </a:xfrm>
        </p:spPr>
        <p:txBody>
          <a:bodyPr>
            <a:noAutofit/>
          </a:bodyPr>
          <a:lstStyle>
            <a:lvl1pPr>
              <a:defRPr sz="2800" b="1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11AD42-ED7A-4C6E-8347-826D2249171C}" type="datetimeFigureOut">
              <a:rPr lang="nb-NO" smtClean="0"/>
              <a:t>07.05.2021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82B9B1-E5CC-4162-9683-1B7647BECBD6}" type="slidenum">
              <a:rPr lang="nb-NO" smtClean="0"/>
              <a:t>‹#›</a:t>
            </a:fld>
            <a:endParaRPr lang="nb-NO"/>
          </a:p>
        </p:txBody>
      </p:sp>
      <p:sp>
        <p:nvSpPr>
          <p:cNvPr id="7" name="Rektangel 6"/>
          <p:cNvSpPr/>
          <p:nvPr/>
        </p:nvSpPr>
        <p:spPr>
          <a:xfrm>
            <a:off x="0" y="0"/>
            <a:ext cx="12192000" cy="7112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/>
          </p:nvPr>
        </p:nvSpPr>
        <p:spPr>
          <a:xfrm>
            <a:off x="409879" y="245837"/>
            <a:ext cx="7224636" cy="363764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133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1" name="TekstSylinder 10"/>
          <p:cNvSpPr txBox="1"/>
          <p:nvPr/>
        </p:nvSpPr>
        <p:spPr>
          <a:xfrm>
            <a:off x="1937084" y="561273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nb-NO" dirty="0"/>
          </a:p>
        </p:txBody>
      </p:sp>
      <p:sp>
        <p:nvSpPr>
          <p:cNvPr id="12" name="TekstSylinder 11"/>
          <p:cNvSpPr txBox="1"/>
          <p:nvPr/>
        </p:nvSpPr>
        <p:spPr>
          <a:xfrm>
            <a:off x="1937084" y="561273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nb-NO" dirty="0"/>
          </a:p>
        </p:txBody>
      </p:sp>
      <p:pic>
        <p:nvPicPr>
          <p:cNvPr id="8" name="Bilde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8401" y="219600"/>
            <a:ext cx="1353405" cy="38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183285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close up of a logo&#10;&#10;Description automatically generated">
            <a:extLst>
              <a:ext uri="{FF2B5EF4-FFF2-40B4-BE49-F238E27FC236}">
                <a16:creationId xmlns:a16="http://schemas.microsoft.com/office/drawing/2014/main" id="{1F3D5432-B8BD-1942-814C-BB807E40219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B92CDF9-DE82-0E43-9833-C44C8FE8A14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9007" y="360000"/>
            <a:ext cx="11095200" cy="2387600"/>
          </a:xfrm>
        </p:spPr>
        <p:txBody>
          <a:bodyPr anchor="b" anchorCtr="0">
            <a:normAutofit/>
          </a:bodyPr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AD6A55A-1A30-1B4C-B3FC-7D1F5CBA80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9007" y="2880000"/>
            <a:ext cx="11095199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674748-8D86-234F-B56F-31E4FDACBC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fld id="{A01D5A49-647D-AF48-9821-FE85DF38CA7E}" type="datetime1">
              <a:rPr lang="nb-NO" smtClean="0"/>
              <a:t>07.05.2021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53CF2B-1631-7549-B59B-C1B081C0D2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599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b-NO"/>
            </a:defPPr>
            <a:lvl1pPr marL="0" algn="ctr" defTabSz="914400" rtl="0" eaLnBrk="1" latinLnBrk="0" hangingPunct="1">
              <a:defRPr sz="1200" kern="1200">
                <a:solidFill>
                  <a:schemeClr val="bg1">
                    <a:lumMod val="85000"/>
                  </a:schemeClr>
                </a:solidFill>
                <a:latin typeface="Coop Grotesk" panose="020B0504030205020103" pitchFamily="34" charset="77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/>
              <a:t>Tittel på presentasjon/seksjon</a:t>
            </a:r>
            <a:endParaRPr lang="nb-NO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AD60167-4A2D-D446-ACAC-2EF129DAEB3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613810" y="6392441"/>
            <a:ext cx="1029182" cy="292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782874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A - with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9321AC5-5C1E-5A4D-882E-93BCD9C9CF3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7D756D-2099-A44A-838F-CDD66E56E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1862A-D976-A740-ADCB-0272E0249D7F}" type="datetime1">
              <a:rPr lang="nb-NO" smtClean="0"/>
              <a:t>07.05.2021</a:t>
            </a:fld>
            <a:endParaRPr lang="nb-NO"/>
          </a:p>
        </p:txBody>
      </p:sp>
      <p:pic>
        <p:nvPicPr>
          <p:cNvPr id="9" name="Picture 5">
            <a:extLst>
              <a:ext uri="{FF2B5EF4-FFF2-40B4-BE49-F238E27FC236}">
                <a16:creationId xmlns:a16="http://schemas.microsoft.com/office/drawing/2014/main" id="{2943858E-FB19-B949-96AA-3190E5D564B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898658" y="6440567"/>
            <a:ext cx="744333" cy="211863"/>
          </a:xfrm>
          <a:prstGeom prst="rect">
            <a:avLst/>
          </a:prstGeom>
        </p:spPr>
      </p:pic>
      <p:sp>
        <p:nvSpPr>
          <p:cNvPr id="5" name="Tittel 4">
            <a:extLst>
              <a:ext uri="{FF2B5EF4-FFF2-40B4-BE49-F238E27FC236}">
                <a16:creationId xmlns:a16="http://schemas.microsoft.com/office/drawing/2014/main" id="{C4126772-88A3-2A49-8374-C4805756FC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innhold 5">
            <a:extLst>
              <a:ext uri="{FF2B5EF4-FFF2-40B4-BE49-F238E27FC236}">
                <a16:creationId xmlns:a16="http://schemas.microsoft.com/office/drawing/2014/main" id="{78079D0C-795D-0047-ACC5-765028518FED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49007" y="1825625"/>
            <a:ext cx="11093984" cy="435133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457382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 - with ima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674748-8D86-234F-B56F-31E4FDACBC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3366"/>
                </a:solidFill>
              </a:defRPr>
            </a:lvl1pPr>
          </a:lstStyle>
          <a:p>
            <a:fld id="{5EEB9F79-FBEC-F94E-9E8F-DEDC777817E6}" type="datetime1">
              <a:rPr lang="nb-NO" smtClean="0"/>
              <a:t>07.05.2021</a:t>
            </a:fld>
            <a:endParaRPr lang="nb-NO" dirty="0"/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id="{63D21C51-D411-7E4B-9339-FF7F4B9ABBA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613810" y="6392441"/>
            <a:ext cx="1029182" cy="292941"/>
          </a:xfrm>
          <a:prstGeom prst="rect">
            <a:avLst/>
          </a:prstGeom>
        </p:spPr>
      </p:pic>
      <p:sp>
        <p:nvSpPr>
          <p:cNvPr id="5" name="Rektangel 4">
            <a:extLst>
              <a:ext uri="{FF2B5EF4-FFF2-40B4-BE49-F238E27FC236}">
                <a16:creationId xmlns:a16="http://schemas.microsoft.com/office/drawing/2014/main" id="{AAD757FE-D7BD-6B48-9494-2F8015E1E5F9}"/>
              </a:ext>
            </a:extLst>
          </p:cNvPr>
          <p:cNvSpPr/>
          <p:nvPr userDrawn="1"/>
        </p:nvSpPr>
        <p:spPr>
          <a:xfrm>
            <a:off x="0" y="0"/>
            <a:ext cx="7637254" cy="3851364"/>
          </a:xfrm>
          <a:custGeom>
            <a:avLst/>
            <a:gdLst>
              <a:gd name="connsiteX0" fmla="*/ 0 w 7637254"/>
              <a:gd name="connsiteY0" fmla="*/ 0 h 3835879"/>
              <a:gd name="connsiteX1" fmla="*/ 7637254 w 7637254"/>
              <a:gd name="connsiteY1" fmla="*/ 0 h 3835879"/>
              <a:gd name="connsiteX2" fmla="*/ 7637254 w 7637254"/>
              <a:gd name="connsiteY2" fmla="*/ 3835879 h 3835879"/>
              <a:gd name="connsiteX3" fmla="*/ 0 w 7637254"/>
              <a:gd name="connsiteY3" fmla="*/ 3835879 h 3835879"/>
              <a:gd name="connsiteX4" fmla="*/ 0 w 7637254"/>
              <a:gd name="connsiteY4" fmla="*/ 0 h 3835879"/>
              <a:gd name="connsiteX0" fmla="*/ 0 w 7637254"/>
              <a:gd name="connsiteY0" fmla="*/ 0 h 3835879"/>
              <a:gd name="connsiteX1" fmla="*/ 7637254 w 7637254"/>
              <a:gd name="connsiteY1" fmla="*/ 0 h 3835879"/>
              <a:gd name="connsiteX2" fmla="*/ 3186024 w 7637254"/>
              <a:gd name="connsiteY2" fmla="*/ 3111260 h 3835879"/>
              <a:gd name="connsiteX3" fmla="*/ 0 w 7637254"/>
              <a:gd name="connsiteY3" fmla="*/ 3835879 h 3835879"/>
              <a:gd name="connsiteX4" fmla="*/ 0 w 7637254"/>
              <a:gd name="connsiteY4" fmla="*/ 0 h 3835879"/>
              <a:gd name="connsiteX0" fmla="*/ 0 w 7637254"/>
              <a:gd name="connsiteY0" fmla="*/ 0 h 3835879"/>
              <a:gd name="connsiteX1" fmla="*/ 7637254 w 7637254"/>
              <a:gd name="connsiteY1" fmla="*/ 0 h 3835879"/>
              <a:gd name="connsiteX2" fmla="*/ 3985405 w 7637254"/>
              <a:gd name="connsiteY2" fmla="*/ 3674853 h 3835879"/>
              <a:gd name="connsiteX3" fmla="*/ 0 w 7637254"/>
              <a:gd name="connsiteY3" fmla="*/ 3835879 h 3835879"/>
              <a:gd name="connsiteX4" fmla="*/ 0 w 7637254"/>
              <a:gd name="connsiteY4" fmla="*/ 0 h 3835879"/>
              <a:gd name="connsiteX0" fmla="*/ 0 w 7637254"/>
              <a:gd name="connsiteY0" fmla="*/ 0 h 3835879"/>
              <a:gd name="connsiteX1" fmla="*/ 7637254 w 7637254"/>
              <a:gd name="connsiteY1" fmla="*/ 0 h 3835879"/>
              <a:gd name="connsiteX2" fmla="*/ 3985405 w 7637254"/>
              <a:gd name="connsiteY2" fmla="*/ 3674853 h 3835879"/>
              <a:gd name="connsiteX3" fmla="*/ 0 w 7637254"/>
              <a:gd name="connsiteY3" fmla="*/ 3835879 h 3835879"/>
              <a:gd name="connsiteX4" fmla="*/ 0 w 7637254"/>
              <a:gd name="connsiteY4" fmla="*/ 0 h 3835879"/>
              <a:gd name="connsiteX0" fmla="*/ 0 w 7637254"/>
              <a:gd name="connsiteY0" fmla="*/ 0 h 3835879"/>
              <a:gd name="connsiteX1" fmla="*/ 7637254 w 7637254"/>
              <a:gd name="connsiteY1" fmla="*/ 0 h 3835879"/>
              <a:gd name="connsiteX2" fmla="*/ 3985405 w 7637254"/>
              <a:gd name="connsiteY2" fmla="*/ 3674853 h 3835879"/>
              <a:gd name="connsiteX3" fmla="*/ 0 w 7637254"/>
              <a:gd name="connsiteY3" fmla="*/ 3835879 h 3835879"/>
              <a:gd name="connsiteX4" fmla="*/ 0 w 7637254"/>
              <a:gd name="connsiteY4" fmla="*/ 0 h 3835879"/>
              <a:gd name="connsiteX0" fmla="*/ 0 w 7637254"/>
              <a:gd name="connsiteY0" fmla="*/ 0 h 3835879"/>
              <a:gd name="connsiteX1" fmla="*/ 7637254 w 7637254"/>
              <a:gd name="connsiteY1" fmla="*/ 0 h 3835879"/>
              <a:gd name="connsiteX2" fmla="*/ 3985405 w 7637254"/>
              <a:gd name="connsiteY2" fmla="*/ 3674853 h 3835879"/>
              <a:gd name="connsiteX3" fmla="*/ 0 w 7637254"/>
              <a:gd name="connsiteY3" fmla="*/ 3835879 h 3835879"/>
              <a:gd name="connsiteX4" fmla="*/ 0 w 7637254"/>
              <a:gd name="connsiteY4" fmla="*/ 0 h 3835879"/>
              <a:gd name="connsiteX0" fmla="*/ 0 w 7637254"/>
              <a:gd name="connsiteY0" fmla="*/ 0 h 3835879"/>
              <a:gd name="connsiteX1" fmla="*/ 7637254 w 7637254"/>
              <a:gd name="connsiteY1" fmla="*/ 0 h 3835879"/>
              <a:gd name="connsiteX2" fmla="*/ 3985405 w 7637254"/>
              <a:gd name="connsiteY2" fmla="*/ 3674853 h 3835879"/>
              <a:gd name="connsiteX3" fmla="*/ 0 w 7637254"/>
              <a:gd name="connsiteY3" fmla="*/ 3835879 h 3835879"/>
              <a:gd name="connsiteX4" fmla="*/ 0 w 7637254"/>
              <a:gd name="connsiteY4" fmla="*/ 0 h 3835879"/>
              <a:gd name="connsiteX0" fmla="*/ 0 w 7637254"/>
              <a:gd name="connsiteY0" fmla="*/ 0 h 3674853"/>
              <a:gd name="connsiteX1" fmla="*/ 7637254 w 7637254"/>
              <a:gd name="connsiteY1" fmla="*/ 0 h 3674853"/>
              <a:gd name="connsiteX2" fmla="*/ 3985405 w 7637254"/>
              <a:gd name="connsiteY2" fmla="*/ 3674853 h 3674853"/>
              <a:gd name="connsiteX3" fmla="*/ 11502 w 7637254"/>
              <a:gd name="connsiteY3" fmla="*/ 3358551 h 3674853"/>
              <a:gd name="connsiteX4" fmla="*/ 0 w 7637254"/>
              <a:gd name="connsiteY4" fmla="*/ 0 h 3674853"/>
              <a:gd name="connsiteX0" fmla="*/ 0 w 7637254"/>
              <a:gd name="connsiteY0" fmla="*/ 0 h 3674853"/>
              <a:gd name="connsiteX1" fmla="*/ 7637254 w 7637254"/>
              <a:gd name="connsiteY1" fmla="*/ 0 h 3674853"/>
              <a:gd name="connsiteX2" fmla="*/ 3985405 w 7637254"/>
              <a:gd name="connsiteY2" fmla="*/ 3674853 h 3674853"/>
              <a:gd name="connsiteX3" fmla="*/ 0 w 7637254"/>
              <a:gd name="connsiteY3" fmla="*/ 2927230 h 3674853"/>
              <a:gd name="connsiteX4" fmla="*/ 0 w 7637254"/>
              <a:gd name="connsiteY4" fmla="*/ 0 h 3674853"/>
              <a:gd name="connsiteX0" fmla="*/ 0 w 7637254"/>
              <a:gd name="connsiteY0" fmla="*/ 0 h 3674853"/>
              <a:gd name="connsiteX1" fmla="*/ 7637254 w 7637254"/>
              <a:gd name="connsiteY1" fmla="*/ 0 h 3674853"/>
              <a:gd name="connsiteX2" fmla="*/ 3985405 w 7637254"/>
              <a:gd name="connsiteY2" fmla="*/ 3674853 h 3674853"/>
              <a:gd name="connsiteX3" fmla="*/ 0 w 7637254"/>
              <a:gd name="connsiteY3" fmla="*/ 3220528 h 3674853"/>
              <a:gd name="connsiteX4" fmla="*/ 0 w 7637254"/>
              <a:gd name="connsiteY4" fmla="*/ 0 h 3674853"/>
              <a:gd name="connsiteX0" fmla="*/ 0 w 7637254"/>
              <a:gd name="connsiteY0" fmla="*/ 0 h 3709671"/>
              <a:gd name="connsiteX1" fmla="*/ 7637254 w 7637254"/>
              <a:gd name="connsiteY1" fmla="*/ 0 h 3709671"/>
              <a:gd name="connsiteX2" fmla="*/ 3985405 w 7637254"/>
              <a:gd name="connsiteY2" fmla="*/ 3674853 h 3709671"/>
              <a:gd name="connsiteX3" fmla="*/ 0 w 7637254"/>
              <a:gd name="connsiteY3" fmla="*/ 3220528 h 3709671"/>
              <a:gd name="connsiteX4" fmla="*/ 0 w 7637254"/>
              <a:gd name="connsiteY4" fmla="*/ 0 h 3709671"/>
              <a:gd name="connsiteX0" fmla="*/ 0 w 7637254"/>
              <a:gd name="connsiteY0" fmla="*/ 0 h 3851364"/>
              <a:gd name="connsiteX1" fmla="*/ 7637254 w 7637254"/>
              <a:gd name="connsiteY1" fmla="*/ 0 h 3851364"/>
              <a:gd name="connsiteX2" fmla="*/ 3985405 w 7637254"/>
              <a:gd name="connsiteY2" fmla="*/ 3674853 h 3851364"/>
              <a:gd name="connsiteX3" fmla="*/ 0 w 7637254"/>
              <a:gd name="connsiteY3" fmla="*/ 3220528 h 3851364"/>
              <a:gd name="connsiteX4" fmla="*/ 0 w 7637254"/>
              <a:gd name="connsiteY4" fmla="*/ 0 h 3851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37254" h="3851364">
                <a:moveTo>
                  <a:pt x="0" y="0"/>
                </a:moveTo>
                <a:lnTo>
                  <a:pt x="7637254" y="0"/>
                </a:lnTo>
                <a:cubicBezTo>
                  <a:pt x="7351624" y="580845"/>
                  <a:pt x="6416137" y="2932981"/>
                  <a:pt x="3985405" y="3674853"/>
                </a:cubicBezTo>
                <a:cubicBezTo>
                  <a:pt x="3283790" y="3885721"/>
                  <a:pt x="1719532" y="4067834"/>
                  <a:pt x="0" y="3220528"/>
                </a:cubicBez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9" name="Plassholder for bilde 14">
            <a:extLst>
              <a:ext uri="{FF2B5EF4-FFF2-40B4-BE49-F238E27FC236}">
                <a16:creationId xmlns:a16="http://schemas.microsoft.com/office/drawing/2014/main" id="{CFF86548-7C12-4F4F-8A1C-AF4103E6089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20885" y="3102573"/>
            <a:ext cx="12233769" cy="3755427"/>
          </a:xfrm>
          <a:custGeom>
            <a:avLst/>
            <a:gdLst>
              <a:gd name="connsiteX0" fmla="*/ 0 w 12192000"/>
              <a:gd name="connsiteY0" fmla="*/ 1886558 h 3773115"/>
              <a:gd name="connsiteX1" fmla="*/ 6096000 w 12192000"/>
              <a:gd name="connsiteY1" fmla="*/ 0 h 3773115"/>
              <a:gd name="connsiteX2" fmla="*/ 12192000 w 12192000"/>
              <a:gd name="connsiteY2" fmla="*/ 1886558 h 3773115"/>
              <a:gd name="connsiteX3" fmla="*/ 6096000 w 12192000"/>
              <a:gd name="connsiteY3" fmla="*/ 3773116 h 3773115"/>
              <a:gd name="connsiteX4" fmla="*/ 0 w 12192000"/>
              <a:gd name="connsiteY4" fmla="*/ 1886558 h 3773115"/>
              <a:gd name="connsiteX0" fmla="*/ 0 w 12220575"/>
              <a:gd name="connsiteY0" fmla="*/ 1936440 h 4323461"/>
              <a:gd name="connsiteX1" fmla="*/ 6096000 w 12220575"/>
              <a:gd name="connsiteY1" fmla="*/ 49882 h 4323461"/>
              <a:gd name="connsiteX2" fmla="*/ 12220575 w 12220575"/>
              <a:gd name="connsiteY2" fmla="*/ 3765240 h 4323461"/>
              <a:gd name="connsiteX3" fmla="*/ 6096000 w 12220575"/>
              <a:gd name="connsiteY3" fmla="*/ 3822998 h 4323461"/>
              <a:gd name="connsiteX4" fmla="*/ 0 w 12220575"/>
              <a:gd name="connsiteY4" fmla="*/ 1936440 h 4323461"/>
              <a:gd name="connsiteX0" fmla="*/ 0 w 12220575"/>
              <a:gd name="connsiteY0" fmla="*/ 1936440 h 3959138"/>
              <a:gd name="connsiteX1" fmla="*/ 6096000 w 12220575"/>
              <a:gd name="connsiteY1" fmla="*/ 49882 h 3959138"/>
              <a:gd name="connsiteX2" fmla="*/ 12220575 w 12220575"/>
              <a:gd name="connsiteY2" fmla="*/ 3765240 h 3959138"/>
              <a:gd name="connsiteX3" fmla="*/ 6096000 w 12220575"/>
              <a:gd name="connsiteY3" fmla="*/ 3822998 h 3959138"/>
              <a:gd name="connsiteX4" fmla="*/ 0 w 12220575"/>
              <a:gd name="connsiteY4" fmla="*/ 1936440 h 3959138"/>
              <a:gd name="connsiteX0" fmla="*/ 0 w 12292012"/>
              <a:gd name="connsiteY0" fmla="*/ 1938973 h 3982031"/>
              <a:gd name="connsiteX1" fmla="*/ 6096000 w 12292012"/>
              <a:gd name="connsiteY1" fmla="*/ 52415 h 3982031"/>
              <a:gd name="connsiteX2" fmla="*/ 12292012 w 12292012"/>
              <a:gd name="connsiteY2" fmla="*/ 3824923 h 3982031"/>
              <a:gd name="connsiteX3" fmla="*/ 6096000 w 12292012"/>
              <a:gd name="connsiteY3" fmla="*/ 3825531 h 3982031"/>
              <a:gd name="connsiteX4" fmla="*/ 0 w 12292012"/>
              <a:gd name="connsiteY4" fmla="*/ 1938973 h 3982031"/>
              <a:gd name="connsiteX0" fmla="*/ 0 w 12292012"/>
              <a:gd name="connsiteY0" fmla="*/ 1938973 h 3982031"/>
              <a:gd name="connsiteX1" fmla="*/ 6096000 w 12292012"/>
              <a:gd name="connsiteY1" fmla="*/ 52415 h 3982031"/>
              <a:gd name="connsiteX2" fmla="*/ 12292012 w 12292012"/>
              <a:gd name="connsiteY2" fmla="*/ 3824923 h 3982031"/>
              <a:gd name="connsiteX3" fmla="*/ 6096000 w 12292012"/>
              <a:gd name="connsiteY3" fmla="*/ 3825531 h 3982031"/>
              <a:gd name="connsiteX4" fmla="*/ 0 w 12292012"/>
              <a:gd name="connsiteY4" fmla="*/ 1938973 h 3982031"/>
              <a:gd name="connsiteX0" fmla="*/ 132341 w 13244297"/>
              <a:gd name="connsiteY0" fmla="*/ 1634172 h 3677230"/>
              <a:gd name="connsiteX1" fmla="*/ 12300528 w 13244297"/>
              <a:gd name="connsiteY1" fmla="*/ 47651 h 3677230"/>
              <a:gd name="connsiteX2" fmla="*/ 12424353 w 13244297"/>
              <a:gd name="connsiteY2" fmla="*/ 3520122 h 3677230"/>
              <a:gd name="connsiteX3" fmla="*/ 6228341 w 13244297"/>
              <a:gd name="connsiteY3" fmla="*/ 3520730 h 3677230"/>
              <a:gd name="connsiteX4" fmla="*/ 132341 w 13244297"/>
              <a:gd name="connsiteY4" fmla="*/ 1634172 h 3677230"/>
              <a:gd name="connsiteX0" fmla="*/ 132341 w 12424353"/>
              <a:gd name="connsiteY0" fmla="*/ 1634172 h 3677230"/>
              <a:gd name="connsiteX1" fmla="*/ 12300528 w 12424353"/>
              <a:gd name="connsiteY1" fmla="*/ 47651 h 3677230"/>
              <a:gd name="connsiteX2" fmla="*/ 12424353 w 12424353"/>
              <a:gd name="connsiteY2" fmla="*/ 3520122 h 3677230"/>
              <a:gd name="connsiteX3" fmla="*/ 6228341 w 12424353"/>
              <a:gd name="connsiteY3" fmla="*/ 3520730 h 3677230"/>
              <a:gd name="connsiteX4" fmla="*/ 132341 w 12424353"/>
              <a:gd name="connsiteY4" fmla="*/ 1634172 h 3677230"/>
              <a:gd name="connsiteX0" fmla="*/ 131877 w 12352126"/>
              <a:gd name="connsiteY0" fmla="*/ 1634172 h 3682849"/>
              <a:gd name="connsiteX1" fmla="*/ 12300064 w 12352126"/>
              <a:gd name="connsiteY1" fmla="*/ 47651 h 3682849"/>
              <a:gd name="connsiteX2" fmla="*/ 12295302 w 12352126"/>
              <a:gd name="connsiteY2" fmla="*/ 3534409 h 3682849"/>
              <a:gd name="connsiteX3" fmla="*/ 6227877 w 12352126"/>
              <a:gd name="connsiteY3" fmla="*/ 3520730 h 3682849"/>
              <a:gd name="connsiteX4" fmla="*/ 131877 w 12352126"/>
              <a:gd name="connsiteY4" fmla="*/ 1634172 h 3682849"/>
              <a:gd name="connsiteX0" fmla="*/ 131877 w 12300064"/>
              <a:gd name="connsiteY0" fmla="*/ 1634172 h 3682849"/>
              <a:gd name="connsiteX1" fmla="*/ 12300064 w 12300064"/>
              <a:gd name="connsiteY1" fmla="*/ 47651 h 3682849"/>
              <a:gd name="connsiteX2" fmla="*/ 12295302 w 12300064"/>
              <a:gd name="connsiteY2" fmla="*/ 3534409 h 3682849"/>
              <a:gd name="connsiteX3" fmla="*/ 6227877 w 12300064"/>
              <a:gd name="connsiteY3" fmla="*/ 3520730 h 3682849"/>
              <a:gd name="connsiteX4" fmla="*/ 131877 w 12300064"/>
              <a:gd name="connsiteY4" fmla="*/ 1634172 h 3682849"/>
              <a:gd name="connsiteX0" fmla="*/ 128994 w 12454344"/>
              <a:gd name="connsiteY0" fmla="*/ 2884427 h 3571942"/>
              <a:gd name="connsiteX1" fmla="*/ 12454344 w 12454344"/>
              <a:gd name="connsiteY1" fmla="*/ 26319 h 3571942"/>
              <a:gd name="connsiteX2" fmla="*/ 12449582 w 12454344"/>
              <a:gd name="connsiteY2" fmla="*/ 3513077 h 3571942"/>
              <a:gd name="connsiteX3" fmla="*/ 6382157 w 12454344"/>
              <a:gd name="connsiteY3" fmla="*/ 3499398 h 3571942"/>
              <a:gd name="connsiteX4" fmla="*/ 128994 w 12454344"/>
              <a:gd name="connsiteY4" fmla="*/ 2884427 h 3571942"/>
              <a:gd name="connsiteX0" fmla="*/ 128994 w 12454344"/>
              <a:gd name="connsiteY0" fmla="*/ 3115890 h 3803405"/>
              <a:gd name="connsiteX1" fmla="*/ 12454344 w 12454344"/>
              <a:gd name="connsiteY1" fmla="*/ 257782 h 3803405"/>
              <a:gd name="connsiteX2" fmla="*/ 12449582 w 12454344"/>
              <a:gd name="connsiteY2" fmla="*/ 3744540 h 3803405"/>
              <a:gd name="connsiteX3" fmla="*/ 6382157 w 12454344"/>
              <a:gd name="connsiteY3" fmla="*/ 3730861 h 3803405"/>
              <a:gd name="connsiteX4" fmla="*/ 128994 w 12454344"/>
              <a:gd name="connsiteY4" fmla="*/ 3115890 h 3803405"/>
              <a:gd name="connsiteX0" fmla="*/ 994239 w 13319589"/>
              <a:gd name="connsiteY0" fmla="*/ 3115890 h 3803405"/>
              <a:gd name="connsiteX1" fmla="*/ 13319589 w 13319589"/>
              <a:gd name="connsiteY1" fmla="*/ 257782 h 3803405"/>
              <a:gd name="connsiteX2" fmla="*/ 13314827 w 13319589"/>
              <a:gd name="connsiteY2" fmla="*/ 3744540 h 3803405"/>
              <a:gd name="connsiteX3" fmla="*/ 7247402 w 13319589"/>
              <a:gd name="connsiteY3" fmla="*/ 3730861 h 3803405"/>
              <a:gd name="connsiteX4" fmla="*/ 1465725 w 13319589"/>
              <a:gd name="connsiteY4" fmla="*/ 3493834 h 3803405"/>
              <a:gd name="connsiteX5" fmla="*/ 994239 w 13319589"/>
              <a:gd name="connsiteY5" fmla="*/ 3115890 h 3803405"/>
              <a:gd name="connsiteX0" fmla="*/ 1124735 w 13450085"/>
              <a:gd name="connsiteY0" fmla="*/ 3115890 h 3773776"/>
              <a:gd name="connsiteX1" fmla="*/ 13450085 w 13450085"/>
              <a:gd name="connsiteY1" fmla="*/ 257782 h 3773776"/>
              <a:gd name="connsiteX2" fmla="*/ 13445323 w 13450085"/>
              <a:gd name="connsiteY2" fmla="*/ 3744540 h 3773776"/>
              <a:gd name="connsiteX3" fmla="*/ 7377898 w 13450085"/>
              <a:gd name="connsiteY3" fmla="*/ 3730861 h 3773776"/>
              <a:gd name="connsiteX4" fmla="*/ 1210458 w 13450085"/>
              <a:gd name="connsiteY4" fmla="*/ 3708146 h 3773776"/>
              <a:gd name="connsiteX5" fmla="*/ 1124735 w 13450085"/>
              <a:gd name="connsiteY5" fmla="*/ 3115890 h 3773776"/>
              <a:gd name="connsiteX0" fmla="*/ 871618 w 13196968"/>
              <a:gd name="connsiteY0" fmla="*/ 3115890 h 3773776"/>
              <a:gd name="connsiteX1" fmla="*/ 13196968 w 13196968"/>
              <a:gd name="connsiteY1" fmla="*/ 257782 h 3773776"/>
              <a:gd name="connsiteX2" fmla="*/ 13192206 w 13196968"/>
              <a:gd name="connsiteY2" fmla="*/ 3744540 h 3773776"/>
              <a:gd name="connsiteX3" fmla="*/ 7124781 w 13196968"/>
              <a:gd name="connsiteY3" fmla="*/ 3730861 h 3773776"/>
              <a:gd name="connsiteX4" fmla="*/ 957341 w 13196968"/>
              <a:gd name="connsiteY4" fmla="*/ 3708146 h 3773776"/>
              <a:gd name="connsiteX5" fmla="*/ 871618 w 13196968"/>
              <a:gd name="connsiteY5" fmla="*/ 3115890 h 3773776"/>
              <a:gd name="connsiteX0" fmla="*/ 0 w 12325350"/>
              <a:gd name="connsiteY0" fmla="*/ 3115890 h 3773776"/>
              <a:gd name="connsiteX1" fmla="*/ 12325350 w 12325350"/>
              <a:gd name="connsiteY1" fmla="*/ 257782 h 3773776"/>
              <a:gd name="connsiteX2" fmla="*/ 12320588 w 12325350"/>
              <a:gd name="connsiteY2" fmla="*/ 3744540 h 3773776"/>
              <a:gd name="connsiteX3" fmla="*/ 6253163 w 12325350"/>
              <a:gd name="connsiteY3" fmla="*/ 3730861 h 3773776"/>
              <a:gd name="connsiteX4" fmla="*/ 85723 w 12325350"/>
              <a:gd name="connsiteY4" fmla="*/ 3708146 h 3773776"/>
              <a:gd name="connsiteX5" fmla="*/ 0 w 12325350"/>
              <a:gd name="connsiteY5" fmla="*/ 3115890 h 3773776"/>
              <a:gd name="connsiteX0" fmla="*/ 0 w 12296775"/>
              <a:gd name="connsiteY0" fmla="*/ 3115890 h 3773776"/>
              <a:gd name="connsiteX1" fmla="*/ 12296775 w 12296775"/>
              <a:gd name="connsiteY1" fmla="*/ 257782 h 3773776"/>
              <a:gd name="connsiteX2" fmla="*/ 12292013 w 12296775"/>
              <a:gd name="connsiteY2" fmla="*/ 3744540 h 3773776"/>
              <a:gd name="connsiteX3" fmla="*/ 6224588 w 12296775"/>
              <a:gd name="connsiteY3" fmla="*/ 3730861 h 3773776"/>
              <a:gd name="connsiteX4" fmla="*/ 57148 w 12296775"/>
              <a:gd name="connsiteY4" fmla="*/ 3708146 h 3773776"/>
              <a:gd name="connsiteX5" fmla="*/ 0 w 12296775"/>
              <a:gd name="connsiteY5" fmla="*/ 3115890 h 3773776"/>
              <a:gd name="connsiteX0" fmla="*/ 15396 w 12312171"/>
              <a:gd name="connsiteY0" fmla="*/ 3115890 h 3773776"/>
              <a:gd name="connsiteX1" fmla="*/ 12312171 w 12312171"/>
              <a:gd name="connsiteY1" fmla="*/ 257782 h 3773776"/>
              <a:gd name="connsiteX2" fmla="*/ 12307409 w 12312171"/>
              <a:gd name="connsiteY2" fmla="*/ 3744540 h 3773776"/>
              <a:gd name="connsiteX3" fmla="*/ 6239984 w 12312171"/>
              <a:gd name="connsiteY3" fmla="*/ 3730861 h 3773776"/>
              <a:gd name="connsiteX4" fmla="*/ 72544 w 12312171"/>
              <a:gd name="connsiteY4" fmla="*/ 3708146 h 3773776"/>
              <a:gd name="connsiteX5" fmla="*/ 15396 w 12312171"/>
              <a:gd name="connsiteY5" fmla="*/ 3115890 h 3773776"/>
              <a:gd name="connsiteX0" fmla="*/ 19371 w 12316146"/>
              <a:gd name="connsiteY0" fmla="*/ 3115890 h 3792066"/>
              <a:gd name="connsiteX1" fmla="*/ 12316146 w 12316146"/>
              <a:gd name="connsiteY1" fmla="*/ 257782 h 3792066"/>
              <a:gd name="connsiteX2" fmla="*/ 12311384 w 12316146"/>
              <a:gd name="connsiteY2" fmla="*/ 3744540 h 3792066"/>
              <a:gd name="connsiteX3" fmla="*/ 6243959 w 12316146"/>
              <a:gd name="connsiteY3" fmla="*/ 3730861 h 3792066"/>
              <a:gd name="connsiteX4" fmla="*/ 62231 w 12316146"/>
              <a:gd name="connsiteY4" fmla="*/ 3751009 h 3792066"/>
              <a:gd name="connsiteX5" fmla="*/ 19371 w 12316146"/>
              <a:gd name="connsiteY5" fmla="*/ 3115890 h 3792066"/>
              <a:gd name="connsiteX0" fmla="*/ 19371 w 12316146"/>
              <a:gd name="connsiteY0" fmla="*/ 3115890 h 3772425"/>
              <a:gd name="connsiteX1" fmla="*/ 12316146 w 12316146"/>
              <a:gd name="connsiteY1" fmla="*/ 257782 h 3772425"/>
              <a:gd name="connsiteX2" fmla="*/ 12311384 w 12316146"/>
              <a:gd name="connsiteY2" fmla="*/ 3744540 h 3772425"/>
              <a:gd name="connsiteX3" fmla="*/ 6243959 w 12316146"/>
              <a:gd name="connsiteY3" fmla="*/ 3730861 h 3772425"/>
              <a:gd name="connsiteX4" fmla="*/ 62231 w 12316146"/>
              <a:gd name="connsiteY4" fmla="*/ 3751009 h 3772425"/>
              <a:gd name="connsiteX5" fmla="*/ 19371 w 12316146"/>
              <a:gd name="connsiteY5" fmla="*/ 3115890 h 3772425"/>
              <a:gd name="connsiteX0" fmla="*/ 13149 w 12334976"/>
              <a:gd name="connsiteY0" fmla="*/ 3134285 h 3765768"/>
              <a:gd name="connsiteX1" fmla="*/ 12334976 w 12334976"/>
              <a:gd name="connsiteY1" fmla="*/ 251125 h 3765768"/>
              <a:gd name="connsiteX2" fmla="*/ 12330214 w 12334976"/>
              <a:gd name="connsiteY2" fmla="*/ 3737883 h 3765768"/>
              <a:gd name="connsiteX3" fmla="*/ 6262789 w 12334976"/>
              <a:gd name="connsiteY3" fmla="*/ 3724204 h 3765768"/>
              <a:gd name="connsiteX4" fmla="*/ 81061 w 12334976"/>
              <a:gd name="connsiteY4" fmla="*/ 3744352 h 3765768"/>
              <a:gd name="connsiteX5" fmla="*/ 13149 w 12334976"/>
              <a:gd name="connsiteY5" fmla="*/ 3134285 h 3765768"/>
              <a:gd name="connsiteX0" fmla="*/ 36715 w 12358542"/>
              <a:gd name="connsiteY0" fmla="*/ 3134285 h 3765768"/>
              <a:gd name="connsiteX1" fmla="*/ 12358542 w 12358542"/>
              <a:gd name="connsiteY1" fmla="*/ 251125 h 3765768"/>
              <a:gd name="connsiteX2" fmla="*/ 12353780 w 12358542"/>
              <a:gd name="connsiteY2" fmla="*/ 3737883 h 3765768"/>
              <a:gd name="connsiteX3" fmla="*/ 6286355 w 12358542"/>
              <a:gd name="connsiteY3" fmla="*/ 3724204 h 3765768"/>
              <a:gd name="connsiteX4" fmla="*/ 41997 w 12358542"/>
              <a:gd name="connsiteY4" fmla="*/ 3750615 h 3765768"/>
              <a:gd name="connsiteX5" fmla="*/ 36715 w 12358542"/>
              <a:gd name="connsiteY5" fmla="*/ 3134285 h 3765768"/>
              <a:gd name="connsiteX0" fmla="*/ 16398 w 12338225"/>
              <a:gd name="connsiteY0" fmla="*/ 3134285 h 3765768"/>
              <a:gd name="connsiteX1" fmla="*/ 12338225 w 12338225"/>
              <a:gd name="connsiteY1" fmla="*/ 251125 h 3765768"/>
              <a:gd name="connsiteX2" fmla="*/ 12333463 w 12338225"/>
              <a:gd name="connsiteY2" fmla="*/ 3737883 h 3765768"/>
              <a:gd name="connsiteX3" fmla="*/ 6266038 w 12338225"/>
              <a:gd name="connsiteY3" fmla="*/ 3724204 h 3765768"/>
              <a:gd name="connsiteX4" fmla="*/ 21680 w 12338225"/>
              <a:gd name="connsiteY4" fmla="*/ 3750615 h 3765768"/>
              <a:gd name="connsiteX5" fmla="*/ 16398 w 12338225"/>
              <a:gd name="connsiteY5" fmla="*/ 3134285 h 3765768"/>
              <a:gd name="connsiteX0" fmla="*/ 12398 w 12334225"/>
              <a:gd name="connsiteY0" fmla="*/ 3134285 h 3765768"/>
              <a:gd name="connsiteX1" fmla="*/ 12334225 w 12334225"/>
              <a:gd name="connsiteY1" fmla="*/ 251125 h 3765768"/>
              <a:gd name="connsiteX2" fmla="*/ 12329463 w 12334225"/>
              <a:gd name="connsiteY2" fmla="*/ 3737883 h 3765768"/>
              <a:gd name="connsiteX3" fmla="*/ 6262038 w 12334225"/>
              <a:gd name="connsiteY3" fmla="*/ 3724204 h 3765768"/>
              <a:gd name="connsiteX4" fmla="*/ 17680 w 12334225"/>
              <a:gd name="connsiteY4" fmla="*/ 3750615 h 3765768"/>
              <a:gd name="connsiteX5" fmla="*/ 12398 w 12334225"/>
              <a:gd name="connsiteY5" fmla="*/ 3134285 h 3765768"/>
              <a:gd name="connsiteX0" fmla="*/ 0 w 12321827"/>
              <a:gd name="connsiteY0" fmla="*/ 3134285 h 3765768"/>
              <a:gd name="connsiteX1" fmla="*/ 12321827 w 12321827"/>
              <a:gd name="connsiteY1" fmla="*/ 251125 h 3765768"/>
              <a:gd name="connsiteX2" fmla="*/ 12317065 w 12321827"/>
              <a:gd name="connsiteY2" fmla="*/ 3737883 h 3765768"/>
              <a:gd name="connsiteX3" fmla="*/ 6249640 w 12321827"/>
              <a:gd name="connsiteY3" fmla="*/ 3724204 h 3765768"/>
              <a:gd name="connsiteX4" fmla="*/ 5282 w 12321827"/>
              <a:gd name="connsiteY4" fmla="*/ 3750615 h 3765768"/>
              <a:gd name="connsiteX5" fmla="*/ 0 w 12321827"/>
              <a:gd name="connsiteY5" fmla="*/ 3134285 h 3765768"/>
              <a:gd name="connsiteX0" fmla="*/ 96 w 12321923"/>
              <a:gd name="connsiteY0" fmla="*/ 3134285 h 3765768"/>
              <a:gd name="connsiteX1" fmla="*/ 12321923 w 12321923"/>
              <a:gd name="connsiteY1" fmla="*/ 251125 h 3765768"/>
              <a:gd name="connsiteX2" fmla="*/ 12317161 w 12321923"/>
              <a:gd name="connsiteY2" fmla="*/ 3737883 h 3765768"/>
              <a:gd name="connsiteX3" fmla="*/ 6249736 w 12321923"/>
              <a:gd name="connsiteY3" fmla="*/ 3724204 h 3765768"/>
              <a:gd name="connsiteX4" fmla="*/ 5378 w 12321923"/>
              <a:gd name="connsiteY4" fmla="*/ 3750615 h 3765768"/>
              <a:gd name="connsiteX5" fmla="*/ 96 w 12321923"/>
              <a:gd name="connsiteY5" fmla="*/ 3134285 h 3765768"/>
              <a:gd name="connsiteX0" fmla="*/ 96 w 12321923"/>
              <a:gd name="connsiteY0" fmla="*/ 3134285 h 3774180"/>
              <a:gd name="connsiteX1" fmla="*/ 12321923 w 12321923"/>
              <a:gd name="connsiteY1" fmla="*/ 251125 h 3774180"/>
              <a:gd name="connsiteX2" fmla="*/ 12317161 w 12321923"/>
              <a:gd name="connsiteY2" fmla="*/ 3737883 h 3774180"/>
              <a:gd name="connsiteX3" fmla="*/ 6255999 w 12321923"/>
              <a:gd name="connsiteY3" fmla="*/ 3755519 h 3774180"/>
              <a:gd name="connsiteX4" fmla="*/ 5378 w 12321923"/>
              <a:gd name="connsiteY4" fmla="*/ 3750615 h 3774180"/>
              <a:gd name="connsiteX5" fmla="*/ 96 w 12321923"/>
              <a:gd name="connsiteY5" fmla="*/ 3134285 h 3774180"/>
              <a:gd name="connsiteX0" fmla="*/ 96 w 12321923"/>
              <a:gd name="connsiteY0" fmla="*/ 3134285 h 3792314"/>
              <a:gd name="connsiteX1" fmla="*/ 12321923 w 12321923"/>
              <a:gd name="connsiteY1" fmla="*/ 251125 h 3792314"/>
              <a:gd name="connsiteX2" fmla="*/ 12247793 w 12321923"/>
              <a:gd name="connsiteY2" fmla="*/ 3763108 h 3792314"/>
              <a:gd name="connsiteX3" fmla="*/ 6255999 w 12321923"/>
              <a:gd name="connsiteY3" fmla="*/ 3755519 h 3792314"/>
              <a:gd name="connsiteX4" fmla="*/ 5378 w 12321923"/>
              <a:gd name="connsiteY4" fmla="*/ 3750615 h 3792314"/>
              <a:gd name="connsiteX5" fmla="*/ 96 w 12321923"/>
              <a:gd name="connsiteY5" fmla="*/ 3134285 h 3792314"/>
              <a:gd name="connsiteX0" fmla="*/ 96 w 12321923"/>
              <a:gd name="connsiteY0" fmla="*/ 3134285 h 3778416"/>
              <a:gd name="connsiteX1" fmla="*/ 12321923 w 12321923"/>
              <a:gd name="connsiteY1" fmla="*/ 251125 h 3778416"/>
              <a:gd name="connsiteX2" fmla="*/ 12209956 w 12321923"/>
              <a:gd name="connsiteY2" fmla="*/ 3744189 h 3778416"/>
              <a:gd name="connsiteX3" fmla="*/ 6255999 w 12321923"/>
              <a:gd name="connsiteY3" fmla="*/ 3755519 h 3778416"/>
              <a:gd name="connsiteX4" fmla="*/ 5378 w 12321923"/>
              <a:gd name="connsiteY4" fmla="*/ 3750615 h 3778416"/>
              <a:gd name="connsiteX5" fmla="*/ 96 w 12321923"/>
              <a:gd name="connsiteY5" fmla="*/ 3134285 h 3778416"/>
              <a:gd name="connsiteX0" fmla="*/ 96 w 12321923"/>
              <a:gd name="connsiteY0" fmla="*/ 3134285 h 3756932"/>
              <a:gd name="connsiteX1" fmla="*/ 12321923 w 12321923"/>
              <a:gd name="connsiteY1" fmla="*/ 251125 h 3756932"/>
              <a:gd name="connsiteX2" fmla="*/ 12209956 w 12321923"/>
              <a:gd name="connsiteY2" fmla="*/ 3744189 h 3756932"/>
              <a:gd name="connsiteX3" fmla="*/ 6255999 w 12321923"/>
              <a:gd name="connsiteY3" fmla="*/ 3755519 h 3756932"/>
              <a:gd name="connsiteX4" fmla="*/ 5378 w 12321923"/>
              <a:gd name="connsiteY4" fmla="*/ 3750615 h 3756932"/>
              <a:gd name="connsiteX5" fmla="*/ 96 w 12321923"/>
              <a:gd name="connsiteY5" fmla="*/ 3134285 h 3756932"/>
              <a:gd name="connsiteX0" fmla="*/ 96 w 12233636"/>
              <a:gd name="connsiteY0" fmla="*/ 3101972 h 3724619"/>
              <a:gd name="connsiteX1" fmla="*/ 12233636 w 12233636"/>
              <a:gd name="connsiteY1" fmla="*/ 262955 h 3724619"/>
              <a:gd name="connsiteX2" fmla="*/ 12209956 w 12233636"/>
              <a:gd name="connsiteY2" fmla="*/ 3711876 h 3724619"/>
              <a:gd name="connsiteX3" fmla="*/ 6255999 w 12233636"/>
              <a:gd name="connsiteY3" fmla="*/ 3723206 h 3724619"/>
              <a:gd name="connsiteX4" fmla="*/ 5378 w 12233636"/>
              <a:gd name="connsiteY4" fmla="*/ 3718302 h 3724619"/>
              <a:gd name="connsiteX5" fmla="*/ 96 w 12233636"/>
              <a:gd name="connsiteY5" fmla="*/ 3101972 h 3724619"/>
              <a:gd name="connsiteX0" fmla="*/ 96 w 12233769"/>
              <a:gd name="connsiteY0" fmla="*/ 3101972 h 3724619"/>
              <a:gd name="connsiteX1" fmla="*/ 12233636 w 12233769"/>
              <a:gd name="connsiteY1" fmla="*/ 262955 h 3724619"/>
              <a:gd name="connsiteX2" fmla="*/ 12209956 w 12233769"/>
              <a:gd name="connsiteY2" fmla="*/ 3711876 h 3724619"/>
              <a:gd name="connsiteX3" fmla="*/ 6255999 w 12233769"/>
              <a:gd name="connsiteY3" fmla="*/ 3723206 h 3724619"/>
              <a:gd name="connsiteX4" fmla="*/ 5378 w 12233769"/>
              <a:gd name="connsiteY4" fmla="*/ 3718302 h 3724619"/>
              <a:gd name="connsiteX5" fmla="*/ 96 w 12233769"/>
              <a:gd name="connsiteY5" fmla="*/ 3101972 h 3724619"/>
              <a:gd name="connsiteX0" fmla="*/ 96 w 12233769"/>
              <a:gd name="connsiteY0" fmla="*/ 3132780 h 3755427"/>
              <a:gd name="connsiteX1" fmla="*/ 12233636 w 12233769"/>
              <a:gd name="connsiteY1" fmla="*/ 293763 h 3755427"/>
              <a:gd name="connsiteX2" fmla="*/ 12209956 w 12233769"/>
              <a:gd name="connsiteY2" fmla="*/ 3742684 h 3755427"/>
              <a:gd name="connsiteX3" fmla="*/ 6255999 w 12233769"/>
              <a:gd name="connsiteY3" fmla="*/ 3754014 h 3755427"/>
              <a:gd name="connsiteX4" fmla="*/ 5378 w 12233769"/>
              <a:gd name="connsiteY4" fmla="*/ 3749110 h 3755427"/>
              <a:gd name="connsiteX5" fmla="*/ 96 w 12233769"/>
              <a:gd name="connsiteY5" fmla="*/ 3132780 h 3755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33769" h="3755427">
                <a:moveTo>
                  <a:pt x="96" y="3132780"/>
                </a:moveTo>
                <a:cubicBezTo>
                  <a:pt x="4841177" y="-732191"/>
                  <a:pt x="10248029" y="-89930"/>
                  <a:pt x="12233636" y="293763"/>
                </a:cubicBezTo>
                <a:cubicBezTo>
                  <a:pt x="12235843" y="407670"/>
                  <a:pt x="12209956" y="1672067"/>
                  <a:pt x="12209956" y="3742684"/>
                </a:cubicBezTo>
                <a:cubicBezTo>
                  <a:pt x="12142952" y="3762601"/>
                  <a:pt x="8297524" y="3752936"/>
                  <a:pt x="6255999" y="3754014"/>
                </a:cubicBezTo>
                <a:lnTo>
                  <a:pt x="5378" y="3749110"/>
                </a:lnTo>
                <a:cubicBezTo>
                  <a:pt x="9890" y="3433868"/>
                  <a:pt x="-1133" y="3382654"/>
                  <a:pt x="96" y="313278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velge nytt bilde fra fil, eller dra bilde over i plassholder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B92CDF9-DE82-0E43-9833-C44C8FE8A14E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9007" y="360000"/>
            <a:ext cx="11095200" cy="2387600"/>
          </a:xfrm>
        </p:spPr>
        <p:txBody>
          <a:bodyPr anchor="b" anchorCtr="0">
            <a:normAutofit/>
          </a:bodyPr>
          <a:lstStyle>
            <a:lvl1pPr algn="l"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nb-NO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AD6A55A-1A30-1B4C-B3FC-7D1F5CBA80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9007" y="2880000"/>
            <a:ext cx="11095199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pic>
        <p:nvPicPr>
          <p:cNvPr id="11" name="Picture 13">
            <a:extLst>
              <a:ext uri="{FF2B5EF4-FFF2-40B4-BE49-F238E27FC236}">
                <a16:creationId xmlns:a16="http://schemas.microsoft.com/office/drawing/2014/main" id="{B4971C40-F366-EA4C-8894-DB819E00AC0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2484" y="555571"/>
            <a:ext cx="1029182" cy="292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565991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A">
    <p:bg>
      <p:bgPr>
        <a:solidFill>
          <a:srgbClr val="DBF0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object&#10;&#10;Description automatically generated">
            <a:extLst>
              <a:ext uri="{FF2B5EF4-FFF2-40B4-BE49-F238E27FC236}">
                <a16:creationId xmlns:a16="http://schemas.microsoft.com/office/drawing/2014/main" id="{61483A7C-6373-6E4D-9C55-AF664B1166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B92CDF9-DE82-0E43-9833-C44C8FE8A14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9007" y="360000"/>
            <a:ext cx="11095200" cy="2387600"/>
          </a:xfrm>
        </p:spPr>
        <p:txBody>
          <a:bodyPr anchor="b" anchorCtr="0">
            <a:normAutofit/>
          </a:bodyPr>
          <a:lstStyle>
            <a:lvl1pPr algn="l">
              <a:defRPr sz="54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AD6A55A-1A30-1B4C-B3FC-7D1F5CBA80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9007" y="2880000"/>
            <a:ext cx="11095199" cy="1655762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674748-8D86-234F-B56F-31E4FDACBC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3366"/>
                </a:solidFill>
              </a:defRPr>
            </a:lvl1pPr>
          </a:lstStyle>
          <a:p>
            <a:fld id="{E0C8295B-ECCB-3D4F-83EA-DEA1C3E36753}" type="datetime1">
              <a:rPr lang="nb-NO" smtClean="0"/>
              <a:t>07.05.2021</a:t>
            </a:fld>
            <a:endParaRPr lang="nb-NO" dirty="0"/>
          </a:p>
        </p:txBody>
      </p:sp>
      <p:pic>
        <p:nvPicPr>
          <p:cNvPr id="8" name="Picture 10">
            <a:extLst>
              <a:ext uri="{FF2B5EF4-FFF2-40B4-BE49-F238E27FC236}">
                <a16:creationId xmlns:a16="http://schemas.microsoft.com/office/drawing/2014/main" id="{821D89E2-5124-FE41-BC1E-3F20A7BC9CC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613810" y="6392441"/>
            <a:ext cx="1029182" cy="292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081319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A - with image">
    <p:bg>
      <p:bgPr>
        <a:solidFill>
          <a:srgbClr val="DBF0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object&#10;&#10;Description automatically generated">
            <a:extLst>
              <a:ext uri="{FF2B5EF4-FFF2-40B4-BE49-F238E27FC236}">
                <a16:creationId xmlns:a16="http://schemas.microsoft.com/office/drawing/2014/main" id="{61483A7C-6373-6E4D-9C55-AF664B1166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Plassholder for bilde 14">
            <a:extLst>
              <a:ext uri="{FF2B5EF4-FFF2-40B4-BE49-F238E27FC236}">
                <a16:creationId xmlns:a16="http://schemas.microsoft.com/office/drawing/2014/main" id="{56FFFB2D-AD1C-F94E-9442-E72D9D16DE6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20885" y="3102573"/>
            <a:ext cx="12233769" cy="3755427"/>
          </a:xfrm>
          <a:custGeom>
            <a:avLst/>
            <a:gdLst>
              <a:gd name="connsiteX0" fmla="*/ 0 w 12192000"/>
              <a:gd name="connsiteY0" fmla="*/ 1886558 h 3773115"/>
              <a:gd name="connsiteX1" fmla="*/ 6096000 w 12192000"/>
              <a:gd name="connsiteY1" fmla="*/ 0 h 3773115"/>
              <a:gd name="connsiteX2" fmla="*/ 12192000 w 12192000"/>
              <a:gd name="connsiteY2" fmla="*/ 1886558 h 3773115"/>
              <a:gd name="connsiteX3" fmla="*/ 6096000 w 12192000"/>
              <a:gd name="connsiteY3" fmla="*/ 3773116 h 3773115"/>
              <a:gd name="connsiteX4" fmla="*/ 0 w 12192000"/>
              <a:gd name="connsiteY4" fmla="*/ 1886558 h 3773115"/>
              <a:gd name="connsiteX0" fmla="*/ 0 w 12220575"/>
              <a:gd name="connsiteY0" fmla="*/ 1936440 h 4323461"/>
              <a:gd name="connsiteX1" fmla="*/ 6096000 w 12220575"/>
              <a:gd name="connsiteY1" fmla="*/ 49882 h 4323461"/>
              <a:gd name="connsiteX2" fmla="*/ 12220575 w 12220575"/>
              <a:gd name="connsiteY2" fmla="*/ 3765240 h 4323461"/>
              <a:gd name="connsiteX3" fmla="*/ 6096000 w 12220575"/>
              <a:gd name="connsiteY3" fmla="*/ 3822998 h 4323461"/>
              <a:gd name="connsiteX4" fmla="*/ 0 w 12220575"/>
              <a:gd name="connsiteY4" fmla="*/ 1936440 h 4323461"/>
              <a:gd name="connsiteX0" fmla="*/ 0 w 12220575"/>
              <a:gd name="connsiteY0" fmla="*/ 1936440 h 3959138"/>
              <a:gd name="connsiteX1" fmla="*/ 6096000 w 12220575"/>
              <a:gd name="connsiteY1" fmla="*/ 49882 h 3959138"/>
              <a:gd name="connsiteX2" fmla="*/ 12220575 w 12220575"/>
              <a:gd name="connsiteY2" fmla="*/ 3765240 h 3959138"/>
              <a:gd name="connsiteX3" fmla="*/ 6096000 w 12220575"/>
              <a:gd name="connsiteY3" fmla="*/ 3822998 h 3959138"/>
              <a:gd name="connsiteX4" fmla="*/ 0 w 12220575"/>
              <a:gd name="connsiteY4" fmla="*/ 1936440 h 3959138"/>
              <a:gd name="connsiteX0" fmla="*/ 0 w 12292012"/>
              <a:gd name="connsiteY0" fmla="*/ 1938973 h 3982031"/>
              <a:gd name="connsiteX1" fmla="*/ 6096000 w 12292012"/>
              <a:gd name="connsiteY1" fmla="*/ 52415 h 3982031"/>
              <a:gd name="connsiteX2" fmla="*/ 12292012 w 12292012"/>
              <a:gd name="connsiteY2" fmla="*/ 3824923 h 3982031"/>
              <a:gd name="connsiteX3" fmla="*/ 6096000 w 12292012"/>
              <a:gd name="connsiteY3" fmla="*/ 3825531 h 3982031"/>
              <a:gd name="connsiteX4" fmla="*/ 0 w 12292012"/>
              <a:gd name="connsiteY4" fmla="*/ 1938973 h 3982031"/>
              <a:gd name="connsiteX0" fmla="*/ 0 w 12292012"/>
              <a:gd name="connsiteY0" fmla="*/ 1938973 h 3982031"/>
              <a:gd name="connsiteX1" fmla="*/ 6096000 w 12292012"/>
              <a:gd name="connsiteY1" fmla="*/ 52415 h 3982031"/>
              <a:gd name="connsiteX2" fmla="*/ 12292012 w 12292012"/>
              <a:gd name="connsiteY2" fmla="*/ 3824923 h 3982031"/>
              <a:gd name="connsiteX3" fmla="*/ 6096000 w 12292012"/>
              <a:gd name="connsiteY3" fmla="*/ 3825531 h 3982031"/>
              <a:gd name="connsiteX4" fmla="*/ 0 w 12292012"/>
              <a:gd name="connsiteY4" fmla="*/ 1938973 h 3982031"/>
              <a:gd name="connsiteX0" fmla="*/ 132341 w 13244297"/>
              <a:gd name="connsiteY0" fmla="*/ 1634172 h 3677230"/>
              <a:gd name="connsiteX1" fmla="*/ 12300528 w 13244297"/>
              <a:gd name="connsiteY1" fmla="*/ 47651 h 3677230"/>
              <a:gd name="connsiteX2" fmla="*/ 12424353 w 13244297"/>
              <a:gd name="connsiteY2" fmla="*/ 3520122 h 3677230"/>
              <a:gd name="connsiteX3" fmla="*/ 6228341 w 13244297"/>
              <a:gd name="connsiteY3" fmla="*/ 3520730 h 3677230"/>
              <a:gd name="connsiteX4" fmla="*/ 132341 w 13244297"/>
              <a:gd name="connsiteY4" fmla="*/ 1634172 h 3677230"/>
              <a:gd name="connsiteX0" fmla="*/ 132341 w 12424353"/>
              <a:gd name="connsiteY0" fmla="*/ 1634172 h 3677230"/>
              <a:gd name="connsiteX1" fmla="*/ 12300528 w 12424353"/>
              <a:gd name="connsiteY1" fmla="*/ 47651 h 3677230"/>
              <a:gd name="connsiteX2" fmla="*/ 12424353 w 12424353"/>
              <a:gd name="connsiteY2" fmla="*/ 3520122 h 3677230"/>
              <a:gd name="connsiteX3" fmla="*/ 6228341 w 12424353"/>
              <a:gd name="connsiteY3" fmla="*/ 3520730 h 3677230"/>
              <a:gd name="connsiteX4" fmla="*/ 132341 w 12424353"/>
              <a:gd name="connsiteY4" fmla="*/ 1634172 h 3677230"/>
              <a:gd name="connsiteX0" fmla="*/ 131877 w 12352126"/>
              <a:gd name="connsiteY0" fmla="*/ 1634172 h 3682849"/>
              <a:gd name="connsiteX1" fmla="*/ 12300064 w 12352126"/>
              <a:gd name="connsiteY1" fmla="*/ 47651 h 3682849"/>
              <a:gd name="connsiteX2" fmla="*/ 12295302 w 12352126"/>
              <a:gd name="connsiteY2" fmla="*/ 3534409 h 3682849"/>
              <a:gd name="connsiteX3" fmla="*/ 6227877 w 12352126"/>
              <a:gd name="connsiteY3" fmla="*/ 3520730 h 3682849"/>
              <a:gd name="connsiteX4" fmla="*/ 131877 w 12352126"/>
              <a:gd name="connsiteY4" fmla="*/ 1634172 h 3682849"/>
              <a:gd name="connsiteX0" fmla="*/ 131877 w 12300064"/>
              <a:gd name="connsiteY0" fmla="*/ 1634172 h 3682849"/>
              <a:gd name="connsiteX1" fmla="*/ 12300064 w 12300064"/>
              <a:gd name="connsiteY1" fmla="*/ 47651 h 3682849"/>
              <a:gd name="connsiteX2" fmla="*/ 12295302 w 12300064"/>
              <a:gd name="connsiteY2" fmla="*/ 3534409 h 3682849"/>
              <a:gd name="connsiteX3" fmla="*/ 6227877 w 12300064"/>
              <a:gd name="connsiteY3" fmla="*/ 3520730 h 3682849"/>
              <a:gd name="connsiteX4" fmla="*/ 131877 w 12300064"/>
              <a:gd name="connsiteY4" fmla="*/ 1634172 h 3682849"/>
              <a:gd name="connsiteX0" fmla="*/ 128994 w 12454344"/>
              <a:gd name="connsiteY0" fmla="*/ 2884427 h 3571942"/>
              <a:gd name="connsiteX1" fmla="*/ 12454344 w 12454344"/>
              <a:gd name="connsiteY1" fmla="*/ 26319 h 3571942"/>
              <a:gd name="connsiteX2" fmla="*/ 12449582 w 12454344"/>
              <a:gd name="connsiteY2" fmla="*/ 3513077 h 3571942"/>
              <a:gd name="connsiteX3" fmla="*/ 6382157 w 12454344"/>
              <a:gd name="connsiteY3" fmla="*/ 3499398 h 3571942"/>
              <a:gd name="connsiteX4" fmla="*/ 128994 w 12454344"/>
              <a:gd name="connsiteY4" fmla="*/ 2884427 h 3571942"/>
              <a:gd name="connsiteX0" fmla="*/ 128994 w 12454344"/>
              <a:gd name="connsiteY0" fmla="*/ 3115890 h 3803405"/>
              <a:gd name="connsiteX1" fmla="*/ 12454344 w 12454344"/>
              <a:gd name="connsiteY1" fmla="*/ 257782 h 3803405"/>
              <a:gd name="connsiteX2" fmla="*/ 12449582 w 12454344"/>
              <a:gd name="connsiteY2" fmla="*/ 3744540 h 3803405"/>
              <a:gd name="connsiteX3" fmla="*/ 6382157 w 12454344"/>
              <a:gd name="connsiteY3" fmla="*/ 3730861 h 3803405"/>
              <a:gd name="connsiteX4" fmla="*/ 128994 w 12454344"/>
              <a:gd name="connsiteY4" fmla="*/ 3115890 h 3803405"/>
              <a:gd name="connsiteX0" fmla="*/ 994239 w 13319589"/>
              <a:gd name="connsiteY0" fmla="*/ 3115890 h 3803405"/>
              <a:gd name="connsiteX1" fmla="*/ 13319589 w 13319589"/>
              <a:gd name="connsiteY1" fmla="*/ 257782 h 3803405"/>
              <a:gd name="connsiteX2" fmla="*/ 13314827 w 13319589"/>
              <a:gd name="connsiteY2" fmla="*/ 3744540 h 3803405"/>
              <a:gd name="connsiteX3" fmla="*/ 7247402 w 13319589"/>
              <a:gd name="connsiteY3" fmla="*/ 3730861 h 3803405"/>
              <a:gd name="connsiteX4" fmla="*/ 1465725 w 13319589"/>
              <a:gd name="connsiteY4" fmla="*/ 3493834 h 3803405"/>
              <a:gd name="connsiteX5" fmla="*/ 994239 w 13319589"/>
              <a:gd name="connsiteY5" fmla="*/ 3115890 h 3803405"/>
              <a:gd name="connsiteX0" fmla="*/ 1124735 w 13450085"/>
              <a:gd name="connsiteY0" fmla="*/ 3115890 h 3773776"/>
              <a:gd name="connsiteX1" fmla="*/ 13450085 w 13450085"/>
              <a:gd name="connsiteY1" fmla="*/ 257782 h 3773776"/>
              <a:gd name="connsiteX2" fmla="*/ 13445323 w 13450085"/>
              <a:gd name="connsiteY2" fmla="*/ 3744540 h 3773776"/>
              <a:gd name="connsiteX3" fmla="*/ 7377898 w 13450085"/>
              <a:gd name="connsiteY3" fmla="*/ 3730861 h 3773776"/>
              <a:gd name="connsiteX4" fmla="*/ 1210458 w 13450085"/>
              <a:gd name="connsiteY4" fmla="*/ 3708146 h 3773776"/>
              <a:gd name="connsiteX5" fmla="*/ 1124735 w 13450085"/>
              <a:gd name="connsiteY5" fmla="*/ 3115890 h 3773776"/>
              <a:gd name="connsiteX0" fmla="*/ 871618 w 13196968"/>
              <a:gd name="connsiteY0" fmla="*/ 3115890 h 3773776"/>
              <a:gd name="connsiteX1" fmla="*/ 13196968 w 13196968"/>
              <a:gd name="connsiteY1" fmla="*/ 257782 h 3773776"/>
              <a:gd name="connsiteX2" fmla="*/ 13192206 w 13196968"/>
              <a:gd name="connsiteY2" fmla="*/ 3744540 h 3773776"/>
              <a:gd name="connsiteX3" fmla="*/ 7124781 w 13196968"/>
              <a:gd name="connsiteY3" fmla="*/ 3730861 h 3773776"/>
              <a:gd name="connsiteX4" fmla="*/ 957341 w 13196968"/>
              <a:gd name="connsiteY4" fmla="*/ 3708146 h 3773776"/>
              <a:gd name="connsiteX5" fmla="*/ 871618 w 13196968"/>
              <a:gd name="connsiteY5" fmla="*/ 3115890 h 3773776"/>
              <a:gd name="connsiteX0" fmla="*/ 0 w 12325350"/>
              <a:gd name="connsiteY0" fmla="*/ 3115890 h 3773776"/>
              <a:gd name="connsiteX1" fmla="*/ 12325350 w 12325350"/>
              <a:gd name="connsiteY1" fmla="*/ 257782 h 3773776"/>
              <a:gd name="connsiteX2" fmla="*/ 12320588 w 12325350"/>
              <a:gd name="connsiteY2" fmla="*/ 3744540 h 3773776"/>
              <a:gd name="connsiteX3" fmla="*/ 6253163 w 12325350"/>
              <a:gd name="connsiteY3" fmla="*/ 3730861 h 3773776"/>
              <a:gd name="connsiteX4" fmla="*/ 85723 w 12325350"/>
              <a:gd name="connsiteY4" fmla="*/ 3708146 h 3773776"/>
              <a:gd name="connsiteX5" fmla="*/ 0 w 12325350"/>
              <a:gd name="connsiteY5" fmla="*/ 3115890 h 3773776"/>
              <a:gd name="connsiteX0" fmla="*/ 0 w 12296775"/>
              <a:gd name="connsiteY0" fmla="*/ 3115890 h 3773776"/>
              <a:gd name="connsiteX1" fmla="*/ 12296775 w 12296775"/>
              <a:gd name="connsiteY1" fmla="*/ 257782 h 3773776"/>
              <a:gd name="connsiteX2" fmla="*/ 12292013 w 12296775"/>
              <a:gd name="connsiteY2" fmla="*/ 3744540 h 3773776"/>
              <a:gd name="connsiteX3" fmla="*/ 6224588 w 12296775"/>
              <a:gd name="connsiteY3" fmla="*/ 3730861 h 3773776"/>
              <a:gd name="connsiteX4" fmla="*/ 57148 w 12296775"/>
              <a:gd name="connsiteY4" fmla="*/ 3708146 h 3773776"/>
              <a:gd name="connsiteX5" fmla="*/ 0 w 12296775"/>
              <a:gd name="connsiteY5" fmla="*/ 3115890 h 3773776"/>
              <a:gd name="connsiteX0" fmla="*/ 15396 w 12312171"/>
              <a:gd name="connsiteY0" fmla="*/ 3115890 h 3773776"/>
              <a:gd name="connsiteX1" fmla="*/ 12312171 w 12312171"/>
              <a:gd name="connsiteY1" fmla="*/ 257782 h 3773776"/>
              <a:gd name="connsiteX2" fmla="*/ 12307409 w 12312171"/>
              <a:gd name="connsiteY2" fmla="*/ 3744540 h 3773776"/>
              <a:gd name="connsiteX3" fmla="*/ 6239984 w 12312171"/>
              <a:gd name="connsiteY3" fmla="*/ 3730861 h 3773776"/>
              <a:gd name="connsiteX4" fmla="*/ 72544 w 12312171"/>
              <a:gd name="connsiteY4" fmla="*/ 3708146 h 3773776"/>
              <a:gd name="connsiteX5" fmla="*/ 15396 w 12312171"/>
              <a:gd name="connsiteY5" fmla="*/ 3115890 h 3773776"/>
              <a:gd name="connsiteX0" fmla="*/ 19371 w 12316146"/>
              <a:gd name="connsiteY0" fmla="*/ 3115890 h 3792066"/>
              <a:gd name="connsiteX1" fmla="*/ 12316146 w 12316146"/>
              <a:gd name="connsiteY1" fmla="*/ 257782 h 3792066"/>
              <a:gd name="connsiteX2" fmla="*/ 12311384 w 12316146"/>
              <a:gd name="connsiteY2" fmla="*/ 3744540 h 3792066"/>
              <a:gd name="connsiteX3" fmla="*/ 6243959 w 12316146"/>
              <a:gd name="connsiteY3" fmla="*/ 3730861 h 3792066"/>
              <a:gd name="connsiteX4" fmla="*/ 62231 w 12316146"/>
              <a:gd name="connsiteY4" fmla="*/ 3751009 h 3792066"/>
              <a:gd name="connsiteX5" fmla="*/ 19371 w 12316146"/>
              <a:gd name="connsiteY5" fmla="*/ 3115890 h 3792066"/>
              <a:gd name="connsiteX0" fmla="*/ 19371 w 12316146"/>
              <a:gd name="connsiteY0" fmla="*/ 3115890 h 3772425"/>
              <a:gd name="connsiteX1" fmla="*/ 12316146 w 12316146"/>
              <a:gd name="connsiteY1" fmla="*/ 257782 h 3772425"/>
              <a:gd name="connsiteX2" fmla="*/ 12311384 w 12316146"/>
              <a:gd name="connsiteY2" fmla="*/ 3744540 h 3772425"/>
              <a:gd name="connsiteX3" fmla="*/ 6243959 w 12316146"/>
              <a:gd name="connsiteY3" fmla="*/ 3730861 h 3772425"/>
              <a:gd name="connsiteX4" fmla="*/ 62231 w 12316146"/>
              <a:gd name="connsiteY4" fmla="*/ 3751009 h 3772425"/>
              <a:gd name="connsiteX5" fmla="*/ 19371 w 12316146"/>
              <a:gd name="connsiteY5" fmla="*/ 3115890 h 3772425"/>
              <a:gd name="connsiteX0" fmla="*/ 13149 w 12334976"/>
              <a:gd name="connsiteY0" fmla="*/ 3134285 h 3765768"/>
              <a:gd name="connsiteX1" fmla="*/ 12334976 w 12334976"/>
              <a:gd name="connsiteY1" fmla="*/ 251125 h 3765768"/>
              <a:gd name="connsiteX2" fmla="*/ 12330214 w 12334976"/>
              <a:gd name="connsiteY2" fmla="*/ 3737883 h 3765768"/>
              <a:gd name="connsiteX3" fmla="*/ 6262789 w 12334976"/>
              <a:gd name="connsiteY3" fmla="*/ 3724204 h 3765768"/>
              <a:gd name="connsiteX4" fmla="*/ 81061 w 12334976"/>
              <a:gd name="connsiteY4" fmla="*/ 3744352 h 3765768"/>
              <a:gd name="connsiteX5" fmla="*/ 13149 w 12334976"/>
              <a:gd name="connsiteY5" fmla="*/ 3134285 h 3765768"/>
              <a:gd name="connsiteX0" fmla="*/ 36715 w 12358542"/>
              <a:gd name="connsiteY0" fmla="*/ 3134285 h 3765768"/>
              <a:gd name="connsiteX1" fmla="*/ 12358542 w 12358542"/>
              <a:gd name="connsiteY1" fmla="*/ 251125 h 3765768"/>
              <a:gd name="connsiteX2" fmla="*/ 12353780 w 12358542"/>
              <a:gd name="connsiteY2" fmla="*/ 3737883 h 3765768"/>
              <a:gd name="connsiteX3" fmla="*/ 6286355 w 12358542"/>
              <a:gd name="connsiteY3" fmla="*/ 3724204 h 3765768"/>
              <a:gd name="connsiteX4" fmla="*/ 41997 w 12358542"/>
              <a:gd name="connsiteY4" fmla="*/ 3750615 h 3765768"/>
              <a:gd name="connsiteX5" fmla="*/ 36715 w 12358542"/>
              <a:gd name="connsiteY5" fmla="*/ 3134285 h 3765768"/>
              <a:gd name="connsiteX0" fmla="*/ 16398 w 12338225"/>
              <a:gd name="connsiteY0" fmla="*/ 3134285 h 3765768"/>
              <a:gd name="connsiteX1" fmla="*/ 12338225 w 12338225"/>
              <a:gd name="connsiteY1" fmla="*/ 251125 h 3765768"/>
              <a:gd name="connsiteX2" fmla="*/ 12333463 w 12338225"/>
              <a:gd name="connsiteY2" fmla="*/ 3737883 h 3765768"/>
              <a:gd name="connsiteX3" fmla="*/ 6266038 w 12338225"/>
              <a:gd name="connsiteY3" fmla="*/ 3724204 h 3765768"/>
              <a:gd name="connsiteX4" fmla="*/ 21680 w 12338225"/>
              <a:gd name="connsiteY4" fmla="*/ 3750615 h 3765768"/>
              <a:gd name="connsiteX5" fmla="*/ 16398 w 12338225"/>
              <a:gd name="connsiteY5" fmla="*/ 3134285 h 3765768"/>
              <a:gd name="connsiteX0" fmla="*/ 12398 w 12334225"/>
              <a:gd name="connsiteY0" fmla="*/ 3134285 h 3765768"/>
              <a:gd name="connsiteX1" fmla="*/ 12334225 w 12334225"/>
              <a:gd name="connsiteY1" fmla="*/ 251125 h 3765768"/>
              <a:gd name="connsiteX2" fmla="*/ 12329463 w 12334225"/>
              <a:gd name="connsiteY2" fmla="*/ 3737883 h 3765768"/>
              <a:gd name="connsiteX3" fmla="*/ 6262038 w 12334225"/>
              <a:gd name="connsiteY3" fmla="*/ 3724204 h 3765768"/>
              <a:gd name="connsiteX4" fmla="*/ 17680 w 12334225"/>
              <a:gd name="connsiteY4" fmla="*/ 3750615 h 3765768"/>
              <a:gd name="connsiteX5" fmla="*/ 12398 w 12334225"/>
              <a:gd name="connsiteY5" fmla="*/ 3134285 h 3765768"/>
              <a:gd name="connsiteX0" fmla="*/ 0 w 12321827"/>
              <a:gd name="connsiteY0" fmla="*/ 3134285 h 3765768"/>
              <a:gd name="connsiteX1" fmla="*/ 12321827 w 12321827"/>
              <a:gd name="connsiteY1" fmla="*/ 251125 h 3765768"/>
              <a:gd name="connsiteX2" fmla="*/ 12317065 w 12321827"/>
              <a:gd name="connsiteY2" fmla="*/ 3737883 h 3765768"/>
              <a:gd name="connsiteX3" fmla="*/ 6249640 w 12321827"/>
              <a:gd name="connsiteY3" fmla="*/ 3724204 h 3765768"/>
              <a:gd name="connsiteX4" fmla="*/ 5282 w 12321827"/>
              <a:gd name="connsiteY4" fmla="*/ 3750615 h 3765768"/>
              <a:gd name="connsiteX5" fmla="*/ 0 w 12321827"/>
              <a:gd name="connsiteY5" fmla="*/ 3134285 h 3765768"/>
              <a:gd name="connsiteX0" fmla="*/ 96 w 12321923"/>
              <a:gd name="connsiteY0" fmla="*/ 3134285 h 3765768"/>
              <a:gd name="connsiteX1" fmla="*/ 12321923 w 12321923"/>
              <a:gd name="connsiteY1" fmla="*/ 251125 h 3765768"/>
              <a:gd name="connsiteX2" fmla="*/ 12317161 w 12321923"/>
              <a:gd name="connsiteY2" fmla="*/ 3737883 h 3765768"/>
              <a:gd name="connsiteX3" fmla="*/ 6249736 w 12321923"/>
              <a:gd name="connsiteY3" fmla="*/ 3724204 h 3765768"/>
              <a:gd name="connsiteX4" fmla="*/ 5378 w 12321923"/>
              <a:gd name="connsiteY4" fmla="*/ 3750615 h 3765768"/>
              <a:gd name="connsiteX5" fmla="*/ 96 w 12321923"/>
              <a:gd name="connsiteY5" fmla="*/ 3134285 h 3765768"/>
              <a:gd name="connsiteX0" fmla="*/ 96 w 12321923"/>
              <a:gd name="connsiteY0" fmla="*/ 3134285 h 3774180"/>
              <a:gd name="connsiteX1" fmla="*/ 12321923 w 12321923"/>
              <a:gd name="connsiteY1" fmla="*/ 251125 h 3774180"/>
              <a:gd name="connsiteX2" fmla="*/ 12317161 w 12321923"/>
              <a:gd name="connsiteY2" fmla="*/ 3737883 h 3774180"/>
              <a:gd name="connsiteX3" fmla="*/ 6255999 w 12321923"/>
              <a:gd name="connsiteY3" fmla="*/ 3755519 h 3774180"/>
              <a:gd name="connsiteX4" fmla="*/ 5378 w 12321923"/>
              <a:gd name="connsiteY4" fmla="*/ 3750615 h 3774180"/>
              <a:gd name="connsiteX5" fmla="*/ 96 w 12321923"/>
              <a:gd name="connsiteY5" fmla="*/ 3134285 h 3774180"/>
              <a:gd name="connsiteX0" fmla="*/ 96 w 12321923"/>
              <a:gd name="connsiteY0" fmla="*/ 3134285 h 3792314"/>
              <a:gd name="connsiteX1" fmla="*/ 12321923 w 12321923"/>
              <a:gd name="connsiteY1" fmla="*/ 251125 h 3792314"/>
              <a:gd name="connsiteX2" fmla="*/ 12247793 w 12321923"/>
              <a:gd name="connsiteY2" fmla="*/ 3763108 h 3792314"/>
              <a:gd name="connsiteX3" fmla="*/ 6255999 w 12321923"/>
              <a:gd name="connsiteY3" fmla="*/ 3755519 h 3792314"/>
              <a:gd name="connsiteX4" fmla="*/ 5378 w 12321923"/>
              <a:gd name="connsiteY4" fmla="*/ 3750615 h 3792314"/>
              <a:gd name="connsiteX5" fmla="*/ 96 w 12321923"/>
              <a:gd name="connsiteY5" fmla="*/ 3134285 h 3792314"/>
              <a:gd name="connsiteX0" fmla="*/ 96 w 12321923"/>
              <a:gd name="connsiteY0" fmla="*/ 3134285 h 3778416"/>
              <a:gd name="connsiteX1" fmla="*/ 12321923 w 12321923"/>
              <a:gd name="connsiteY1" fmla="*/ 251125 h 3778416"/>
              <a:gd name="connsiteX2" fmla="*/ 12209956 w 12321923"/>
              <a:gd name="connsiteY2" fmla="*/ 3744189 h 3778416"/>
              <a:gd name="connsiteX3" fmla="*/ 6255999 w 12321923"/>
              <a:gd name="connsiteY3" fmla="*/ 3755519 h 3778416"/>
              <a:gd name="connsiteX4" fmla="*/ 5378 w 12321923"/>
              <a:gd name="connsiteY4" fmla="*/ 3750615 h 3778416"/>
              <a:gd name="connsiteX5" fmla="*/ 96 w 12321923"/>
              <a:gd name="connsiteY5" fmla="*/ 3134285 h 3778416"/>
              <a:gd name="connsiteX0" fmla="*/ 96 w 12321923"/>
              <a:gd name="connsiteY0" fmla="*/ 3134285 h 3756932"/>
              <a:gd name="connsiteX1" fmla="*/ 12321923 w 12321923"/>
              <a:gd name="connsiteY1" fmla="*/ 251125 h 3756932"/>
              <a:gd name="connsiteX2" fmla="*/ 12209956 w 12321923"/>
              <a:gd name="connsiteY2" fmla="*/ 3744189 h 3756932"/>
              <a:gd name="connsiteX3" fmla="*/ 6255999 w 12321923"/>
              <a:gd name="connsiteY3" fmla="*/ 3755519 h 3756932"/>
              <a:gd name="connsiteX4" fmla="*/ 5378 w 12321923"/>
              <a:gd name="connsiteY4" fmla="*/ 3750615 h 3756932"/>
              <a:gd name="connsiteX5" fmla="*/ 96 w 12321923"/>
              <a:gd name="connsiteY5" fmla="*/ 3134285 h 3756932"/>
              <a:gd name="connsiteX0" fmla="*/ 96 w 12233636"/>
              <a:gd name="connsiteY0" fmla="*/ 3101972 h 3724619"/>
              <a:gd name="connsiteX1" fmla="*/ 12233636 w 12233636"/>
              <a:gd name="connsiteY1" fmla="*/ 262955 h 3724619"/>
              <a:gd name="connsiteX2" fmla="*/ 12209956 w 12233636"/>
              <a:gd name="connsiteY2" fmla="*/ 3711876 h 3724619"/>
              <a:gd name="connsiteX3" fmla="*/ 6255999 w 12233636"/>
              <a:gd name="connsiteY3" fmla="*/ 3723206 h 3724619"/>
              <a:gd name="connsiteX4" fmla="*/ 5378 w 12233636"/>
              <a:gd name="connsiteY4" fmla="*/ 3718302 h 3724619"/>
              <a:gd name="connsiteX5" fmla="*/ 96 w 12233636"/>
              <a:gd name="connsiteY5" fmla="*/ 3101972 h 3724619"/>
              <a:gd name="connsiteX0" fmla="*/ 96 w 12233769"/>
              <a:gd name="connsiteY0" fmla="*/ 3101972 h 3724619"/>
              <a:gd name="connsiteX1" fmla="*/ 12233636 w 12233769"/>
              <a:gd name="connsiteY1" fmla="*/ 262955 h 3724619"/>
              <a:gd name="connsiteX2" fmla="*/ 12209956 w 12233769"/>
              <a:gd name="connsiteY2" fmla="*/ 3711876 h 3724619"/>
              <a:gd name="connsiteX3" fmla="*/ 6255999 w 12233769"/>
              <a:gd name="connsiteY3" fmla="*/ 3723206 h 3724619"/>
              <a:gd name="connsiteX4" fmla="*/ 5378 w 12233769"/>
              <a:gd name="connsiteY4" fmla="*/ 3718302 h 3724619"/>
              <a:gd name="connsiteX5" fmla="*/ 96 w 12233769"/>
              <a:gd name="connsiteY5" fmla="*/ 3101972 h 3724619"/>
              <a:gd name="connsiteX0" fmla="*/ 96 w 12233769"/>
              <a:gd name="connsiteY0" fmla="*/ 3132780 h 3755427"/>
              <a:gd name="connsiteX1" fmla="*/ 12233636 w 12233769"/>
              <a:gd name="connsiteY1" fmla="*/ 293763 h 3755427"/>
              <a:gd name="connsiteX2" fmla="*/ 12209956 w 12233769"/>
              <a:gd name="connsiteY2" fmla="*/ 3742684 h 3755427"/>
              <a:gd name="connsiteX3" fmla="*/ 6255999 w 12233769"/>
              <a:gd name="connsiteY3" fmla="*/ 3754014 h 3755427"/>
              <a:gd name="connsiteX4" fmla="*/ 5378 w 12233769"/>
              <a:gd name="connsiteY4" fmla="*/ 3749110 h 3755427"/>
              <a:gd name="connsiteX5" fmla="*/ 96 w 12233769"/>
              <a:gd name="connsiteY5" fmla="*/ 3132780 h 37554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33769" h="3755427">
                <a:moveTo>
                  <a:pt x="96" y="3132780"/>
                </a:moveTo>
                <a:cubicBezTo>
                  <a:pt x="4841177" y="-732191"/>
                  <a:pt x="10248029" y="-89930"/>
                  <a:pt x="12233636" y="293763"/>
                </a:cubicBezTo>
                <a:cubicBezTo>
                  <a:pt x="12235843" y="407670"/>
                  <a:pt x="12209956" y="1672067"/>
                  <a:pt x="12209956" y="3742684"/>
                </a:cubicBezTo>
                <a:cubicBezTo>
                  <a:pt x="12142952" y="3762601"/>
                  <a:pt x="8297524" y="3752936"/>
                  <a:pt x="6255999" y="3754014"/>
                </a:cubicBezTo>
                <a:lnTo>
                  <a:pt x="5378" y="3749110"/>
                </a:lnTo>
                <a:cubicBezTo>
                  <a:pt x="9890" y="3433868"/>
                  <a:pt x="-1133" y="3382654"/>
                  <a:pt x="96" y="313278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60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velge nytt bilde fra fil, eller dra bilde over i plassholdere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B92CDF9-DE82-0E43-9833-C44C8FE8A14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9007" y="360000"/>
            <a:ext cx="11095200" cy="2387600"/>
          </a:xfrm>
        </p:spPr>
        <p:txBody>
          <a:bodyPr anchor="b" anchorCtr="0">
            <a:normAutofit/>
          </a:bodyPr>
          <a:lstStyle>
            <a:lvl1pPr algn="l">
              <a:defRPr sz="54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AD6A55A-1A30-1B4C-B3FC-7D1F5CBA80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9007" y="2880000"/>
            <a:ext cx="11095199" cy="1655762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674748-8D86-234F-B56F-31E4FDACBC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003366"/>
                </a:solidFill>
              </a:defRPr>
            </a:lvl1pPr>
          </a:lstStyle>
          <a:p>
            <a:fld id="{E0C8295B-ECCB-3D4F-83EA-DEA1C3E36753}" type="datetime1">
              <a:rPr lang="nb-NO" smtClean="0"/>
              <a:t>07.05.2021</a:t>
            </a:fld>
            <a:endParaRPr lang="nb-NO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03EBD51-A7AF-FA42-B0E0-256FE12C0EF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72484" y="557762"/>
            <a:ext cx="1029182" cy="292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303992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7D756D-2099-A44A-838F-CDD66E56E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87673A-F02C-AF4F-8E3C-674DE4778025}" type="datetime1">
              <a:rPr lang="nb-NO" smtClean="0"/>
              <a:t>07.05.2021</a:t>
            </a:fld>
            <a:endParaRPr lang="nb-NO"/>
          </a:p>
        </p:txBody>
      </p:sp>
      <p:pic>
        <p:nvPicPr>
          <p:cNvPr id="9" name="Picture 5">
            <a:extLst>
              <a:ext uri="{FF2B5EF4-FFF2-40B4-BE49-F238E27FC236}">
                <a16:creationId xmlns:a16="http://schemas.microsoft.com/office/drawing/2014/main" id="{2943858E-FB19-B949-96AA-3190E5D564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8658" y="6440567"/>
            <a:ext cx="744333" cy="211863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4F89B944-4246-F740-B530-D92E8B2D4D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8" name="Plassholder for innhold 5">
            <a:extLst>
              <a:ext uri="{FF2B5EF4-FFF2-40B4-BE49-F238E27FC236}">
                <a16:creationId xmlns:a16="http://schemas.microsoft.com/office/drawing/2014/main" id="{8B89D76B-8396-DF41-8BF7-0DE1B1ED2CB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49007" y="1825625"/>
            <a:ext cx="11093984" cy="435133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2980478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7D756D-2099-A44A-838F-CDD66E56E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1D6F9B-2C53-6D44-BBBB-F1674FD9A560}" type="datetime1">
              <a:rPr lang="nb-NO" smtClean="0"/>
              <a:t>07.05.2021</a:t>
            </a:fld>
            <a:endParaRPr lang="nb-NO"/>
          </a:p>
        </p:txBody>
      </p:sp>
      <p:pic>
        <p:nvPicPr>
          <p:cNvPr id="9" name="Picture 5">
            <a:extLst>
              <a:ext uri="{FF2B5EF4-FFF2-40B4-BE49-F238E27FC236}">
                <a16:creationId xmlns:a16="http://schemas.microsoft.com/office/drawing/2014/main" id="{2943858E-FB19-B949-96AA-3190E5D564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8658" y="6440567"/>
            <a:ext cx="744333" cy="211863"/>
          </a:xfrm>
          <a:prstGeom prst="rect">
            <a:avLst/>
          </a:prstGeom>
        </p:spPr>
      </p:pic>
      <p:sp>
        <p:nvSpPr>
          <p:cNvPr id="5" name="Tittel 4">
            <a:extLst>
              <a:ext uri="{FF2B5EF4-FFF2-40B4-BE49-F238E27FC236}">
                <a16:creationId xmlns:a16="http://schemas.microsoft.com/office/drawing/2014/main" id="{C4126772-88A3-2A49-8374-C4805756FC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303A06D-21DF-7343-9179-158AF8EEADC4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7646126" y="1825625"/>
            <a:ext cx="3996866" cy="4351338"/>
          </a:xfrm>
        </p:spPr>
        <p:txBody>
          <a:bodyPr>
            <a:normAutofit/>
          </a:bodyPr>
          <a:lstStyle>
            <a:lvl1pPr marL="0" indent="0">
              <a:buNone/>
              <a:defRPr sz="2000" b="0"/>
            </a:lvl1pPr>
            <a:lvl2pPr>
              <a:lnSpc>
                <a:spcPts val="3200"/>
              </a:lnSpc>
              <a:defRPr/>
            </a:lvl2pPr>
          </a:lstStyle>
          <a:p>
            <a:pPr lvl="0"/>
            <a:r>
              <a:rPr lang="en-US" dirty="0"/>
              <a:t>Second level</a:t>
            </a:r>
            <a:endParaRPr lang="nb-NO" dirty="0"/>
          </a:p>
        </p:txBody>
      </p:sp>
      <p:sp>
        <p:nvSpPr>
          <p:cNvPr id="10" name="Plassholder for innhold 1">
            <a:extLst>
              <a:ext uri="{FF2B5EF4-FFF2-40B4-BE49-F238E27FC236}">
                <a16:creationId xmlns:a16="http://schemas.microsoft.com/office/drawing/2014/main" id="{D354A28C-233B-5148-8F0D-AD38CE4F94D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49007" y="1825625"/>
            <a:ext cx="6670398" cy="435133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23616178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+ Image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7D756D-2099-A44A-838F-CDD66E56E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3E0541-0925-4745-8F11-57F25C337D78}" type="datetime1">
              <a:rPr lang="nb-NO" smtClean="0"/>
              <a:t>07.05.2021</a:t>
            </a:fld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60938B5A-0356-824E-B492-5BED32365C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6" name="Plassholder for bilde 4">
            <a:extLst>
              <a:ext uri="{FF2B5EF4-FFF2-40B4-BE49-F238E27FC236}">
                <a16:creationId xmlns:a16="http://schemas.microsoft.com/office/drawing/2014/main" id="{AC5E1204-ACDF-734A-9438-64EDF26E56B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46015" y="1825624"/>
            <a:ext cx="6470694" cy="4351338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</a:lstStyle>
          <a:p>
            <a:r>
              <a:rPr lang="nb-NO" sz="2800" dirty="0"/>
              <a:t>Klikk for å legge til bilde fra fil, eller dra bilde over plassholderen</a:t>
            </a:r>
          </a:p>
        </p:txBody>
      </p:sp>
      <p:sp>
        <p:nvSpPr>
          <p:cNvPr id="7" name="Plassholder for innhold 4">
            <a:extLst>
              <a:ext uri="{FF2B5EF4-FFF2-40B4-BE49-F238E27FC236}">
                <a16:creationId xmlns:a16="http://schemas.microsoft.com/office/drawing/2014/main" id="{8BB62D2B-2AC3-A542-82B6-BA4DB12199C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7480502" y="1825624"/>
            <a:ext cx="4162490" cy="435133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008180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1" imgH="472" progId="TCLayout.ActiveDocument.1">
                  <p:embed/>
                </p:oleObj>
              </mc:Choice>
              <mc:Fallback>
                <p:oleObj name="think-cell Slide" r:id="rId3" imgW="471" imgH="472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1886" y="841827"/>
            <a:ext cx="11364687" cy="790803"/>
          </a:xfrm>
        </p:spPr>
        <p:txBody>
          <a:bodyPr>
            <a:noAutofit/>
          </a:bodyPr>
          <a:lstStyle>
            <a:lvl1pPr>
              <a:defRPr sz="2800" b="1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11AD42-ED7A-4C6E-8347-826D2249171C}" type="datetimeFigureOut">
              <a:rPr lang="nb-NO" smtClean="0"/>
              <a:t>07.05.2021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82B9B1-E5CC-4162-9683-1B7647BECBD6}" type="slidenum">
              <a:rPr lang="nb-NO" smtClean="0"/>
              <a:t>‹#›</a:t>
            </a:fld>
            <a:endParaRPr lang="nb-NO"/>
          </a:p>
        </p:txBody>
      </p:sp>
      <p:sp>
        <p:nvSpPr>
          <p:cNvPr id="7" name="Rektangel 6"/>
          <p:cNvSpPr/>
          <p:nvPr/>
        </p:nvSpPr>
        <p:spPr>
          <a:xfrm>
            <a:off x="0" y="0"/>
            <a:ext cx="12192000" cy="7112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/>
          </p:nvPr>
        </p:nvSpPr>
        <p:spPr>
          <a:xfrm>
            <a:off x="409879" y="245837"/>
            <a:ext cx="7224636" cy="363764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133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1" name="TekstSylinder 10"/>
          <p:cNvSpPr txBox="1"/>
          <p:nvPr/>
        </p:nvSpPr>
        <p:spPr>
          <a:xfrm>
            <a:off x="1937084" y="561273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nb-NO" dirty="0"/>
          </a:p>
        </p:txBody>
      </p:sp>
      <p:sp>
        <p:nvSpPr>
          <p:cNvPr id="12" name="TekstSylinder 11"/>
          <p:cNvSpPr txBox="1"/>
          <p:nvPr/>
        </p:nvSpPr>
        <p:spPr>
          <a:xfrm>
            <a:off x="1937084" y="561273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nb-NO" dirty="0"/>
          </a:p>
        </p:txBody>
      </p:sp>
      <p:pic>
        <p:nvPicPr>
          <p:cNvPr id="8" name="Bilde 7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8401" y="219600"/>
            <a:ext cx="1353405" cy="38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201172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+ Image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7D756D-2099-A44A-838F-CDD66E56E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8CA927-B5AE-1541-BF3F-80FA7A34CA81}" type="datetime1">
              <a:rPr lang="nb-NO" smtClean="0"/>
              <a:t>07.05.2021</a:t>
            </a:fld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60938B5A-0356-824E-B492-5BED32365C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007" y="570084"/>
            <a:ext cx="11093985" cy="1129846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5" name="Plassholder for bilde 4">
            <a:extLst>
              <a:ext uri="{FF2B5EF4-FFF2-40B4-BE49-F238E27FC236}">
                <a16:creationId xmlns:a16="http://schemas.microsoft.com/office/drawing/2014/main" id="{468196FD-686B-D541-86BE-E00E28D7725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49007" y="1825624"/>
            <a:ext cx="4160992" cy="4351338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>
              <a:defRPr sz="1800">
                <a:solidFill>
                  <a:schemeClr val="tx1"/>
                </a:solidFill>
              </a:defRPr>
            </a:lvl1pPr>
          </a:lstStyle>
          <a:p>
            <a:r>
              <a:rPr lang="nb-NO"/>
              <a:t>Klikk ikonet for å legge til et bilde</a:t>
            </a:r>
            <a:endParaRPr lang="nb-NO" dirty="0"/>
          </a:p>
        </p:txBody>
      </p:sp>
      <p:sp>
        <p:nvSpPr>
          <p:cNvPr id="14" name="Plassholder for innhold 4">
            <a:extLst>
              <a:ext uri="{FF2B5EF4-FFF2-40B4-BE49-F238E27FC236}">
                <a16:creationId xmlns:a16="http://schemas.microsoft.com/office/drawing/2014/main" id="{1F3FAB04-B759-5E44-BD5F-07096C7D720E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172598" y="1825624"/>
            <a:ext cx="6467401" cy="435133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76126729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+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7D756D-2099-A44A-838F-CDD66E56E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0FF37A-644F-3844-BF5E-A4C8D690A4A4}" type="datetime1">
              <a:rPr lang="nb-NO" smtClean="0"/>
              <a:t>07.05.2021</a:t>
            </a:fld>
            <a:endParaRPr lang="nb-NO"/>
          </a:p>
        </p:txBody>
      </p:sp>
      <p:sp>
        <p:nvSpPr>
          <p:cNvPr id="6" name="Plassholder for bilde 4">
            <a:extLst>
              <a:ext uri="{FF2B5EF4-FFF2-40B4-BE49-F238E27FC236}">
                <a16:creationId xmlns:a16="http://schemas.microsoft.com/office/drawing/2014/main" id="{8A99BE77-8497-EC4A-A962-A3E9916FDD7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49008" y="1825625"/>
            <a:ext cx="2771599" cy="204969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nb-NO"/>
              <a:t>Klikk ikonet for å legge til et bilde</a:t>
            </a:r>
            <a:endParaRPr lang="nb-NO" dirty="0"/>
          </a:p>
        </p:txBody>
      </p:sp>
      <p:sp>
        <p:nvSpPr>
          <p:cNvPr id="7" name="Plassholder for bilde 4">
            <a:extLst>
              <a:ext uri="{FF2B5EF4-FFF2-40B4-BE49-F238E27FC236}">
                <a16:creationId xmlns:a16="http://schemas.microsoft.com/office/drawing/2014/main" id="{AC5CB31D-E13D-194D-8F1E-93CF980013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49008" y="4142105"/>
            <a:ext cx="2771998" cy="204969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nb-NO"/>
              <a:t>Klikk ikonet for å legge til et bilde</a:t>
            </a:r>
            <a:endParaRPr lang="nb-NO" dirty="0"/>
          </a:p>
        </p:txBody>
      </p:sp>
      <p:sp>
        <p:nvSpPr>
          <p:cNvPr id="8" name="Tittel 7">
            <a:extLst>
              <a:ext uri="{FF2B5EF4-FFF2-40B4-BE49-F238E27FC236}">
                <a16:creationId xmlns:a16="http://schemas.microsoft.com/office/drawing/2014/main" id="{7093286F-C34E-8642-AA54-FDB63D4778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18" name="Plassholder for innhold 4">
            <a:extLst>
              <a:ext uri="{FF2B5EF4-FFF2-40B4-BE49-F238E27FC236}">
                <a16:creationId xmlns:a16="http://schemas.microsoft.com/office/drawing/2014/main" id="{5B140E7C-2B2B-1E48-ADDA-7B71F89784E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781007" y="1825625"/>
            <a:ext cx="7858992" cy="435133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779162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 + Image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7D756D-2099-A44A-838F-CDD66E56E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A42F7D-F44A-C447-8C45-2180BE0A7B31}" type="datetime1">
              <a:rPr lang="nb-NO" smtClean="0"/>
              <a:t>07.05.2021</a:t>
            </a:fld>
            <a:endParaRPr lang="nb-NO"/>
          </a:p>
        </p:txBody>
      </p:sp>
      <p:pic>
        <p:nvPicPr>
          <p:cNvPr id="9" name="Picture 5">
            <a:extLst>
              <a:ext uri="{FF2B5EF4-FFF2-40B4-BE49-F238E27FC236}">
                <a16:creationId xmlns:a16="http://schemas.microsoft.com/office/drawing/2014/main" id="{2943858E-FB19-B949-96AA-3190E5D564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8658" y="6440567"/>
            <a:ext cx="744333" cy="211863"/>
          </a:xfrm>
          <a:prstGeom prst="rect">
            <a:avLst/>
          </a:prstGeom>
        </p:spPr>
      </p:pic>
      <p:sp>
        <p:nvSpPr>
          <p:cNvPr id="5" name="Plassholder for bilde 4">
            <a:extLst>
              <a:ext uri="{FF2B5EF4-FFF2-40B4-BE49-F238E27FC236}">
                <a16:creationId xmlns:a16="http://schemas.microsoft.com/office/drawing/2014/main" id="{8C24C229-7217-6C49-97CB-8F5F52B844D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143215" y="-60136"/>
            <a:ext cx="6111637" cy="6258913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3345 w 10000"/>
              <a:gd name="connsiteY3" fmla="*/ 7623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3345 w 10000"/>
              <a:gd name="connsiteY3" fmla="*/ 7623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3345 w 10000"/>
              <a:gd name="connsiteY3" fmla="*/ 7623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3266 w 10000"/>
              <a:gd name="connsiteY3" fmla="*/ 7842 h 10000"/>
              <a:gd name="connsiteX4" fmla="*/ 0 w 10000"/>
              <a:gd name="connsiteY4" fmla="*/ 0 h 10000"/>
              <a:gd name="connsiteX0" fmla="*/ 0 w 10000"/>
              <a:gd name="connsiteY0" fmla="*/ 0 h 10301"/>
              <a:gd name="connsiteX1" fmla="*/ 10000 w 10000"/>
              <a:gd name="connsiteY1" fmla="*/ 0 h 10301"/>
              <a:gd name="connsiteX2" fmla="*/ 10000 w 10000"/>
              <a:gd name="connsiteY2" fmla="*/ 10000 h 10301"/>
              <a:gd name="connsiteX3" fmla="*/ 9087 w 10000"/>
              <a:gd name="connsiteY3" fmla="*/ 10301 h 10301"/>
              <a:gd name="connsiteX4" fmla="*/ 0 w 10000"/>
              <a:gd name="connsiteY4" fmla="*/ 0 h 10301"/>
              <a:gd name="connsiteX0" fmla="*/ 0 w 10000"/>
              <a:gd name="connsiteY0" fmla="*/ 0 h 10301"/>
              <a:gd name="connsiteX1" fmla="*/ 10000 w 10000"/>
              <a:gd name="connsiteY1" fmla="*/ 0 h 10301"/>
              <a:gd name="connsiteX2" fmla="*/ 10000 w 10000"/>
              <a:gd name="connsiteY2" fmla="*/ 7404 h 10301"/>
              <a:gd name="connsiteX3" fmla="*/ 9087 w 10000"/>
              <a:gd name="connsiteY3" fmla="*/ 10301 h 10301"/>
              <a:gd name="connsiteX4" fmla="*/ 0 w 10000"/>
              <a:gd name="connsiteY4" fmla="*/ 0 h 10301"/>
              <a:gd name="connsiteX0" fmla="*/ 0 w 10009"/>
              <a:gd name="connsiteY0" fmla="*/ 0 h 10110"/>
              <a:gd name="connsiteX1" fmla="*/ 10000 w 10009"/>
              <a:gd name="connsiteY1" fmla="*/ 0 h 10110"/>
              <a:gd name="connsiteX2" fmla="*/ 10000 w 10009"/>
              <a:gd name="connsiteY2" fmla="*/ 7404 h 10110"/>
              <a:gd name="connsiteX3" fmla="*/ 10009 w 10009"/>
              <a:gd name="connsiteY3" fmla="*/ 10110 h 10110"/>
              <a:gd name="connsiteX4" fmla="*/ 0 w 10009"/>
              <a:gd name="connsiteY4" fmla="*/ 0 h 10110"/>
              <a:gd name="connsiteX0" fmla="*/ 0 w 10009"/>
              <a:gd name="connsiteY0" fmla="*/ 0 h 10110"/>
              <a:gd name="connsiteX1" fmla="*/ 10000 w 10009"/>
              <a:gd name="connsiteY1" fmla="*/ 0 h 10110"/>
              <a:gd name="connsiteX2" fmla="*/ 10000 w 10009"/>
              <a:gd name="connsiteY2" fmla="*/ 7404 h 10110"/>
              <a:gd name="connsiteX3" fmla="*/ 10009 w 10009"/>
              <a:gd name="connsiteY3" fmla="*/ 10110 h 10110"/>
              <a:gd name="connsiteX4" fmla="*/ 0 w 10009"/>
              <a:gd name="connsiteY4" fmla="*/ 0 h 10110"/>
              <a:gd name="connsiteX0" fmla="*/ 0 w 10114"/>
              <a:gd name="connsiteY0" fmla="*/ 0 h 10766"/>
              <a:gd name="connsiteX1" fmla="*/ 10105 w 10114"/>
              <a:gd name="connsiteY1" fmla="*/ 656 h 10766"/>
              <a:gd name="connsiteX2" fmla="*/ 10105 w 10114"/>
              <a:gd name="connsiteY2" fmla="*/ 8060 h 10766"/>
              <a:gd name="connsiteX3" fmla="*/ 10114 w 10114"/>
              <a:gd name="connsiteY3" fmla="*/ 10766 h 10766"/>
              <a:gd name="connsiteX4" fmla="*/ 0 w 10114"/>
              <a:gd name="connsiteY4" fmla="*/ 0 h 10766"/>
              <a:gd name="connsiteX0" fmla="*/ 0 w 10114"/>
              <a:gd name="connsiteY0" fmla="*/ 0 h 10766"/>
              <a:gd name="connsiteX1" fmla="*/ 10105 w 10114"/>
              <a:gd name="connsiteY1" fmla="*/ 656 h 10766"/>
              <a:gd name="connsiteX2" fmla="*/ 10105 w 10114"/>
              <a:gd name="connsiteY2" fmla="*/ 8060 h 10766"/>
              <a:gd name="connsiteX3" fmla="*/ 10114 w 10114"/>
              <a:gd name="connsiteY3" fmla="*/ 10766 h 10766"/>
              <a:gd name="connsiteX4" fmla="*/ 0 w 10114"/>
              <a:gd name="connsiteY4" fmla="*/ 0 h 10766"/>
              <a:gd name="connsiteX0" fmla="*/ 0 w 10114"/>
              <a:gd name="connsiteY0" fmla="*/ 0 h 10766"/>
              <a:gd name="connsiteX1" fmla="*/ 10105 w 10114"/>
              <a:gd name="connsiteY1" fmla="*/ 28 h 10766"/>
              <a:gd name="connsiteX2" fmla="*/ 10105 w 10114"/>
              <a:gd name="connsiteY2" fmla="*/ 8060 h 10766"/>
              <a:gd name="connsiteX3" fmla="*/ 10114 w 10114"/>
              <a:gd name="connsiteY3" fmla="*/ 10766 h 10766"/>
              <a:gd name="connsiteX4" fmla="*/ 0 w 10114"/>
              <a:gd name="connsiteY4" fmla="*/ 0 h 10766"/>
              <a:gd name="connsiteX0" fmla="*/ 0 w 10210"/>
              <a:gd name="connsiteY0" fmla="*/ 81 h 10847"/>
              <a:gd name="connsiteX1" fmla="*/ 10210 w 10210"/>
              <a:gd name="connsiteY1" fmla="*/ 0 h 10847"/>
              <a:gd name="connsiteX2" fmla="*/ 10105 w 10210"/>
              <a:gd name="connsiteY2" fmla="*/ 8141 h 10847"/>
              <a:gd name="connsiteX3" fmla="*/ 10114 w 10210"/>
              <a:gd name="connsiteY3" fmla="*/ 10847 h 10847"/>
              <a:gd name="connsiteX4" fmla="*/ 0 w 10210"/>
              <a:gd name="connsiteY4" fmla="*/ 81 h 10847"/>
              <a:gd name="connsiteX0" fmla="*/ 0 w 10210"/>
              <a:gd name="connsiteY0" fmla="*/ 81 h 10847"/>
              <a:gd name="connsiteX1" fmla="*/ 10210 w 10210"/>
              <a:gd name="connsiteY1" fmla="*/ 0 h 10847"/>
              <a:gd name="connsiteX2" fmla="*/ 10105 w 10210"/>
              <a:gd name="connsiteY2" fmla="*/ 8141 h 10847"/>
              <a:gd name="connsiteX3" fmla="*/ 10167 w 10210"/>
              <a:gd name="connsiteY3" fmla="*/ 10847 h 10847"/>
              <a:gd name="connsiteX4" fmla="*/ 0 w 10210"/>
              <a:gd name="connsiteY4" fmla="*/ 81 h 10847"/>
              <a:gd name="connsiteX0" fmla="*/ 0 w 10210"/>
              <a:gd name="connsiteY0" fmla="*/ 81 h 10847"/>
              <a:gd name="connsiteX1" fmla="*/ 10210 w 10210"/>
              <a:gd name="connsiteY1" fmla="*/ 0 h 10847"/>
              <a:gd name="connsiteX2" fmla="*/ 10158 w 10210"/>
              <a:gd name="connsiteY2" fmla="*/ 8250 h 10847"/>
              <a:gd name="connsiteX3" fmla="*/ 10167 w 10210"/>
              <a:gd name="connsiteY3" fmla="*/ 10847 h 10847"/>
              <a:gd name="connsiteX4" fmla="*/ 0 w 10210"/>
              <a:gd name="connsiteY4" fmla="*/ 81 h 10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10" h="10847">
                <a:moveTo>
                  <a:pt x="0" y="81"/>
                </a:moveTo>
                <a:lnTo>
                  <a:pt x="10210" y="0"/>
                </a:lnTo>
                <a:cubicBezTo>
                  <a:pt x="10193" y="2750"/>
                  <a:pt x="10175" y="5500"/>
                  <a:pt x="10158" y="8250"/>
                </a:cubicBezTo>
                <a:cubicBezTo>
                  <a:pt x="10179" y="9152"/>
                  <a:pt x="10146" y="9945"/>
                  <a:pt x="10167" y="10847"/>
                </a:cubicBezTo>
                <a:cubicBezTo>
                  <a:pt x="2915" y="10683"/>
                  <a:pt x="562" y="5682"/>
                  <a:pt x="0" y="8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nb-NO"/>
              <a:t>Klikk ikonet for å legge til et bilde</a:t>
            </a:r>
          </a:p>
        </p:txBody>
      </p:sp>
      <p:sp>
        <p:nvSpPr>
          <p:cNvPr id="8" name="Plassholder for innhold 1">
            <a:extLst>
              <a:ext uri="{FF2B5EF4-FFF2-40B4-BE49-F238E27FC236}">
                <a16:creationId xmlns:a16="http://schemas.microsoft.com/office/drawing/2014/main" id="{3CAD0C6E-4CA2-2043-9214-9D75ED6C611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549007" y="1825625"/>
            <a:ext cx="5594207" cy="435133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6B6147EF-1829-A549-AFBB-DA58BFEB78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008" y="570084"/>
            <a:ext cx="5379454" cy="1129846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2684655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_Med Møn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E58864-D613-E442-98F2-A61AE2F7FAC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9008" y="1840865"/>
            <a:ext cx="5741434" cy="4351338"/>
          </a:xfrm>
        </p:spPr>
        <p:txBody>
          <a:bodyPr/>
          <a:lstStyle>
            <a:lvl1pPr marL="0" indent="0">
              <a:lnSpc>
                <a:spcPts val="3200"/>
              </a:lnSpc>
              <a:buNone/>
              <a:defRPr sz="2400" b="0"/>
            </a:lvl1pPr>
            <a:lvl2pPr>
              <a:lnSpc>
                <a:spcPct val="150000"/>
              </a:lnSpc>
              <a:defRPr/>
            </a:lvl2pPr>
          </a:lstStyle>
          <a:p>
            <a:pPr lvl="0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b-NO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7D756D-2099-A44A-838F-CDD66E56E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0BEFF4-4EC6-8B4D-BC3B-BE17BB72A761}" type="datetime1">
              <a:rPr lang="nb-NO" smtClean="0"/>
              <a:t>07.05.2021</a:t>
            </a:fld>
            <a:endParaRPr lang="nb-NO"/>
          </a:p>
        </p:txBody>
      </p:sp>
      <p:pic>
        <p:nvPicPr>
          <p:cNvPr id="9" name="Picture 5">
            <a:extLst>
              <a:ext uri="{FF2B5EF4-FFF2-40B4-BE49-F238E27FC236}">
                <a16:creationId xmlns:a16="http://schemas.microsoft.com/office/drawing/2014/main" id="{9BE36348-022F-BE42-92A8-5F17D7911D3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8658" y="6440567"/>
            <a:ext cx="744333" cy="211863"/>
          </a:xfrm>
          <a:prstGeom prst="rect">
            <a:avLst/>
          </a:prstGeom>
        </p:spPr>
      </p:pic>
      <p:sp>
        <p:nvSpPr>
          <p:cNvPr id="7" name="Plassholder for bilde 4">
            <a:extLst>
              <a:ext uri="{FF2B5EF4-FFF2-40B4-BE49-F238E27FC236}">
                <a16:creationId xmlns:a16="http://schemas.microsoft.com/office/drawing/2014/main" id="{9DEA7D4C-C013-E640-9A6C-A7450F34A6B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143215" y="-60136"/>
            <a:ext cx="6111637" cy="6258913"/>
          </a:xfrm>
          <a:custGeom>
            <a:avLst/>
            <a:gdLst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3345 w 10000"/>
              <a:gd name="connsiteY3" fmla="*/ 7623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3345 w 10000"/>
              <a:gd name="connsiteY3" fmla="*/ 7623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3345 w 10000"/>
              <a:gd name="connsiteY3" fmla="*/ 7623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3266 w 10000"/>
              <a:gd name="connsiteY3" fmla="*/ 7842 h 10000"/>
              <a:gd name="connsiteX4" fmla="*/ 0 w 10000"/>
              <a:gd name="connsiteY4" fmla="*/ 0 h 10000"/>
              <a:gd name="connsiteX0" fmla="*/ 0 w 10000"/>
              <a:gd name="connsiteY0" fmla="*/ 0 h 10301"/>
              <a:gd name="connsiteX1" fmla="*/ 10000 w 10000"/>
              <a:gd name="connsiteY1" fmla="*/ 0 h 10301"/>
              <a:gd name="connsiteX2" fmla="*/ 10000 w 10000"/>
              <a:gd name="connsiteY2" fmla="*/ 10000 h 10301"/>
              <a:gd name="connsiteX3" fmla="*/ 9087 w 10000"/>
              <a:gd name="connsiteY3" fmla="*/ 10301 h 10301"/>
              <a:gd name="connsiteX4" fmla="*/ 0 w 10000"/>
              <a:gd name="connsiteY4" fmla="*/ 0 h 10301"/>
              <a:gd name="connsiteX0" fmla="*/ 0 w 10000"/>
              <a:gd name="connsiteY0" fmla="*/ 0 h 10301"/>
              <a:gd name="connsiteX1" fmla="*/ 10000 w 10000"/>
              <a:gd name="connsiteY1" fmla="*/ 0 h 10301"/>
              <a:gd name="connsiteX2" fmla="*/ 10000 w 10000"/>
              <a:gd name="connsiteY2" fmla="*/ 7404 h 10301"/>
              <a:gd name="connsiteX3" fmla="*/ 9087 w 10000"/>
              <a:gd name="connsiteY3" fmla="*/ 10301 h 10301"/>
              <a:gd name="connsiteX4" fmla="*/ 0 w 10000"/>
              <a:gd name="connsiteY4" fmla="*/ 0 h 10301"/>
              <a:gd name="connsiteX0" fmla="*/ 0 w 10009"/>
              <a:gd name="connsiteY0" fmla="*/ 0 h 10110"/>
              <a:gd name="connsiteX1" fmla="*/ 10000 w 10009"/>
              <a:gd name="connsiteY1" fmla="*/ 0 h 10110"/>
              <a:gd name="connsiteX2" fmla="*/ 10000 w 10009"/>
              <a:gd name="connsiteY2" fmla="*/ 7404 h 10110"/>
              <a:gd name="connsiteX3" fmla="*/ 10009 w 10009"/>
              <a:gd name="connsiteY3" fmla="*/ 10110 h 10110"/>
              <a:gd name="connsiteX4" fmla="*/ 0 w 10009"/>
              <a:gd name="connsiteY4" fmla="*/ 0 h 10110"/>
              <a:gd name="connsiteX0" fmla="*/ 0 w 10009"/>
              <a:gd name="connsiteY0" fmla="*/ 0 h 10110"/>
              <a:gd name="connsiteX1" fmla="*/ 10000 w 10009"/>
              <a:gd name="connsiteY1" fmla="*/ 0 h 10110"/>
              <a:gd name="connsiteX2" fmla="*/ 10000 w 10009"/>
              <a:gd name="connsiteY2" fmla="*/ 7404 h 10110"/>
              <a:gd name="connsiteX3" fmla="*/ 10009 w 10009"/>
              <a:gd name="connsiteY3" fmla="*/ 10110 h 10110"/>
              <a:gd name="connsiteX4" fmla="*/ 0 w 10009"/>
              <a:gd name="connsiteY4" fmla="*/ 0 h 10110"/>
              <a:gd name="connsiteX0" fmla="*/ 0 w 10114"/>
              <a:gd name="connsiteY0" fmla="*/ 0 h 10766"/>
              <a:gd name="connsiteX1" fmla="*/ 10105 w 10114"/>
              <a:gd name="connsiteY1" fmla="*/ 656 h 10766"/>
              <a:gd name="connsiteX2" fmla="*/ 10105 w 10114"/>
              <a:gd name="connsiteY2" fmla="*/ 8060 h 10766"/>
              <a:gd name="connsiteX3" fmla="*/ 10114 w 10114"/>
              <a:gd name="connsiteY3" fmla="*/ 10766 h 10766"/>
              <a:gd name="connsiteX4" fmla="*/ 0 w 10114"/>
              <a:gd name="connsiteY4" fmla="*/ 0 h 10766"/>
              <a:gd name="connsiteX0" fmla="*/ 0 w 10114"/>
              <a:gd name="connsiteY0" fmla="*/ 0 h 10766"/>
              <a:gd name="connsiteX1" fmla="*/ 10105 w 10114"/>
              <a:gd name="connsiteY1" fmla="*/ 656 h 10766"/>
              <a:gd name="connsiteX2" fmla="*/ 10105 w 10114"/>
              <a:gd name="connsiteY2" fmla="*/ 8060 h 10766"/>
              <a:gd name="connsiteX3" fmla="*/ 10114 w 10114"/>
              <a:gd name="connsiteY3" fmla="*/ 10766 h 10766"/>
              <a:gd name="connsiteX4" fmla="*/ 0 w 10114"/>
              <a:gd name="connsiteY4" fmla="*/ 0 h 10766"/>
              <a:gd name="connsiteX0" fmla="*/ 0 w 10114"/>
              <a:gd name="connsiteY0" fmla="*/ 0 h 10766"/>
              <a:gd name="connsiteX1" fmla="*/ 10105 w 10114"/>
              <a:gd name="connsiteY1" fmla="*/ 28 h 10766"/>
              <a:gd name="connsiteX2" fmla="*/ 10105 w 10114"/>
              <a:gd name="connsiteY2" fmla="*/ 8060 h 10766"/>
              <a:gd name="connsiteX3" fmla="*/ 10114 w 10114"/>
              <a:gd name="connsiteY3" fmla="*/ 10766 h 10766"/>
              <a:gd name="connsiteX4" fmla="*/ 0 w 10114"/>
              <a:gd name="connsiteY4" fmla="*/ 0 h 10766"/>
              <a:gd name="connsiteX0" fmla="*/ 0 w 10210"/>
              <a:gd name="connsiteY0" fmla="*/ 81 h 10847"/>
              <a:gd name="connsiteX1" fmla="*/ 10210 w 10210"/>
              <a:gd name="connsiteY1" fmla="*/ 0 h 10847"/>
              <a:gd name="connsiteX2" fmla="*/ 10105 w 10210"/>
              <a:gd name="connsiteY2" fmla="*/ 8141 h 10847"/>
              <a:gd name="connsiteX3" fmla="*/ 10114 w 10210"/>
              <a:gd name="connsiteY3" fmla="*/ 10847 h 10847"/>
              <a:gd name="connsiteX4" fmla="*/ 0 w 10210"/>
              <a:gd name="connsiteY4" fmla="*/ 81 h 10847"/>
              <a:gd name="connsiteX0" fmla="*/ 0 w 10210"/>
              <a:gd name="connsiteY0" fmla="*/ 81 h 10847"/>
              <a:gd name="connsiteX1" fmla="*/ 10210 w 10210"/>
              <a:gd name="connsiteY1" fmla="*/ 0 h 10847"/>
              <a:gd name="connsiteX2" fmla="*/ 10105 w 10210"/>
              <a:gd name="connsiteY2" fmla="*/ 8141 h 10847"/>
              <a:gd name="connsiteX3" fmla="*/ 10167 w 10210"/>
              <a:gd name="connsiteY3" fmla="*/ 10847 h 10847"/>
              <a:gd name="connsiteX4" fmla="*/ 0 w 10210"/>
              <a:gd name="connsiteY4" fmla="*/ 81 h 10847"/>
              <a:gd name="connsiteX0" fmla="*/ 0 w 10210"/>
              <a:gd name="connsiteY0" fmla="*/ 81 h 10847"/>
              <a:gd name="connsiteX1" fmla="*/ 10210 w 10210"/>
              <a:gd name="connsiteY1" fmla="*/ 0 h 10847"/>
              <a:gd name="connsiteX2" fmla="*/ 10158 w 10210"/>
              <a:gd name="connsiteY2" fmla="*/ 8250 h 10847"/>
              <a:gd name="connsiteX3" fmla="*/ 10167 w 10210"/>
              <a:gd name="connsiteY3" fmla="*/ 10847 h 10847"/>
              <a:gd name="connsiteX4" fmla="*/ 0 w 10210"/>
              <a:gd name="connsiteY4" fmla="*/ 81 h 10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10" h="10847">
                <a:moveTo>
                  <a:pt x="0" y="81"/>
                </a:moveTo>
                <a:lnTo>
                  <a:pt x="10210" y="0"/>
                </a:lnTo>
                <a:cubicBezTo>
                  <a:pt x="10193" y="2750"/>
                  <a:pt x="10175" y="5500"/>
                  <a:pt x="10158" y="8250"/>
                </a:cubicBezTo>
                <a:cubicBezTo>
                  <a:pt x="10179" y="9152"/>
                  <a:pt x="10146" y="9945"/>
                  <a:pt x="10167" y="10847"/>
                </a:cubicBezTo>
                <a:cubicBezTo>
                  <a:pt x="2915" y="10683"/>
                  <a:pt x="562" y="5682"/>
                  <a:pt x="0" y="81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sette inn bilde fra fil, </a:t>
            </a:r>
            <a:br>
              <a:rPr lang="nb-NO" dirty="0"/>
            </a:br>
            <a:r>
              <a:rPr lang="nb-NO" dirty="0"/>
              <a:t>eller dra bildefil over i plassholderen</a:t>
            </a: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B45D759E-B9A9-B549-B549-7F5A83545B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008" y="570084"/>
            <a:ext cx="4606316" cy="1129846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7919903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1E6EB52-AE9D-194C-9733-B1F22D44FD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EB6EBF-FB79-3B4C-BFA0-38325F2C8226}" type="datetime1">
              <a:rPr lang="nb-NO" smtClean="0"/>
              <a:t>07.05.202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6151791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A">
    <p:bg>
      <p:bgPr>
        <a:solidFill>
          <a:srgbClr val="DBF0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E58864-D613-E442-98F2-A61AE2F7FAC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9007" y="4985259"/>
            <a:ext cx="11212069" cy="1185735"/>
          </a:xfrm>
        </p:spPr>
        <p:txBody>
          <a:bodyPr>
            <a:normAutofit/>
          </a:bodyPr>
          <a:lstStyle>
            <a:lvl1pPr marL="0" indent="0">
              <a:buNone/>
              <a:defRPr sz="2400" b="0"/>
            </a:lvl1pPr>
            <a:lvl2pPr marL="457200" indent="0">
              <a:lnSpc>
                <a:spcPts val="3200"/>
              </a:lnSpc>
              <a:buNone/>
              <a:defRPr/>
            </a:lvl2pPr>
            <a:lvl3pPr>
              <a:defRPr sz="2400" b="0"/>
            </a:lvl3pPr>
            <a:lvl4pPr>
              <a:defRPr sz="2400" b="0"/>
            </a:lvl4pPr>
            <a:lvl5pPr>
              <a:defRPr sz="2400" b="0"/>
            </a:lvl5pPr>
          </a:lstStyle>
          <a:p>
            <a:pPr lvl="0"/>
            <a:r>
              <a:rPr lang="en-US" dirty="0"/>
              <a:t>Second level</a:t>
            </a:r>
            <a:endParaRPr lang="nb-NO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7D756D-2099-A44A-838F-CDD66E56E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2FD1F8-2AB8-3441-B25E-D3234666B480}" type="datetime1">
              <a:rPr lang="nb-NO" smtClean="0"/>
              <a:t>07.05.2021</a:t>
            </a:fld>
            <a:endParaRPr lang="nb-NO"/>
          </a:p>
        </p:txBody>
      </p:sp>
      <p:pic>
        <p:nvPicPr>
          <p:cNvPr id="9" name="Picture 5">
            <a:extLst>
              <a:ext uri="{FF2B5EF4-FFF2-40B4-BE49-F238E27FC236}">
                <a16:creationId xmlns:a16="http://schemas.microsoft.com/office/drawing/2014/main" id="{2943858E-FB19-B949-96AA-3190E5D564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8658" y="6440567"/>
            <a:ext cx="744333" cy="211863"/>
          </a:xfrm>
          <a:prstGeom prst="rect">
            <a:avLst/>
          </a:prstGeom>
        </p:spPr>
      </p:pic>
      <p:sp>
        <p:nvSpPr>
          <p:cNvPr id="6" name="Tittel 5">
            <a:extLst>
              <a:ext uri="{FF2B5EF4-FFF2-40B4-BE49-F238E27FC236}">
                <a16:creationId xmlns:a16="http://schemas.microsoft.com/office/drawing/2014/main" id="{3DA25767-2F24-7047-B393-7D3AA4618D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6937" y="2697625"/>
            <a:ext cx="11212069" cy="2149474"/>
          </a:xfrm>
        </p:spPr>
        <p:txBody>
          <a:bodyPr anchor="b" anchorCtr="0">
            <a:normAutofit/>
          </a:bodyPr>
          <a:lstStyle>
            <a:lvl1pPr>
              <a:defRPr sz="5400"/>
            </a:lvl1pPr>
          </a:lstStyle>
          <a:p>
            <a:r>
              <a:rPr lang="nb-NO" dirty="0"/>
              <a:t>Kapittel tittel</a:t>
            </a:r>
          </a:p>
        </p:txBody>
      </p:sp>
    </p:spTree>
    <p:extLst>
      <p:ext uri="{BB962C8B-B14F-4D97-AF65-F5344CB8AC3E}">
        <p14:creationId xmlns:p14="http://schemas.microsoft.com/office/powerpoint/2010/main" val="386047440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A - with image">
    <p:bg>
      <p:bgPr>
        <a:solidFill>
          <a:srgbClr val="DBF0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E58864-D613-E442-98F2-A61AE2F7FAC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9007" y="4985259"/>
            <a:ext cx="11212069" cy="1185735"/>
          </a:xfrm>
        </p:spPr>
        <p:txBody>
          <a:bodyPr>
            <a:normAutofit/>
          </a:bodyPr>
          <a:lstStyle>
            <a:lvl1pPr marL="0" indent="0">
              <a:buNone/>
              <a:defRPr sz="2400" b="0"/>
            </a:lvl1pPr>
            <a:lvl2pPr marL="457200" indent="0">
              <a:lnSpc>
                <a:spcPts val="3200"/>
              </a:lnSpc>
              <a:buNone/>
              <a:defRPr/>
            </a:lvl2pPr>
            <a:lvl3pPr>
              <a:defRPr sz="2400" b="0"/>
            </a:lvl3pPr>
            <a:lvl4pPr>
              <a:defRPr sz="2400" b="0"/>
            </a:lvl4pPr>
            <a:lvl5pPr>
              <a:defRPr sz="2400" b="0"/>
            </a:lvl5pPr>
          </a:lstStyle>
          <a:p>
            <a:pPr lvl="0"/>
            <a:r>
              <a:rPr lang="en-US" dirty="0"/>
              <a:t>Second level</a:t>
            </a:r>
            <a:endParaRPr lang="nb-NO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7D756D-2099-A44A-838F-CDD66E56E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2FD1F8-2AB8-3441-B25E-D3234666B480}" type="datetime1">
              <a:rPr lang="nb-NO" smtClean="0"/>
              <a:t>07.05.2021</a:t>
            </a:fld>
            <a:endParaRPr lang="nb-NO"/>
          </a:p>
        </p:txBody>
      </p:sp>
      <p:pic>
        <p:nvPicPr>
          <p:cNvPr id="9" name="Picture 5">
            <a:extLst>
              <a:ext uri="{FF2B5EF4-FFF2-40B4-BE49-F238E27FC236}">
                <a16:creationId xmlns:a16="http://schemas.microsoft.com/office/drawing/2014/main" id="{2943858E-FB19-B949-96AA-3190E5D564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8658" y="6440567"/>
            <a:ext cx="744333" cy="211863"/>
          </a:xfrm>
          <a:prstGeom prst="rect">
            <a:avLst/>
          </a:prstGeom>
        </p:spPr>
      </p:pic>
      <p:sp>
        <p:nvSpPr>
          <p:cNvPr id="6" name="Tittel 5">
            <a:extLst>
              <a:ext uri="{FF2B5EF4-FFF2-40B4-BE49-F238E27FC236}">
                <a16:creationId xmlns:a16="http://schemas.microsoft.com/office/drawing/2014/main" id="{3DA25767-2F24-7047-B393-7D3AA4618D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6937" y="2697625"/>
            <a:ext cx="11212069" cy="2149474"/>
          </a:xfrm>
        </p:spPr>
        <p:txBody>
          <a:bodyPr anchor="b" anchorCtr="0">
            <a:normAutofit/>
          </a:bodyPr>
          <a:lstStyle>
            <a:lvl1pPr>
              <a:defRPr sz="5400"/>
            </a:lvl1pPr>
          </a:lstStyle>
          <a:p>
            <a:r>
              <a:rPr lang="nb-NO" dirty="0"/>
              <a:t>Kapittel tittel</a:t>
            </a:r>
          </a:p>
        </p:txBody>
      </p:sp>
      <p:sp>
        <p:nvSpPr>
          <p:cNvPr id="8" name="Plassholder for bilde 4">
            <a:extLst>
              <a:ext uri="{FF2B5EF4-FFF2-40B4-BE49-F238E27FC236}">
                <a16:creationId xmlns:a16="http://schemas.microsoft.com/office/drawing/2014/main" id="{179618E9-1BDF-F64F-98BC-B86C1F054E3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36650" y="-489858"/>
            <a:ext cx="12244416" cy="4084396"/>
          </a:xfrm>
          <a:custGeom>
            <a:avLst/>
            <a:gdLst>
              <a:gd name="connsiteX0" fmla="*/ 0 w 12212885"/>
              <a:gd name="connsiteY0" fmla="*/ 0 h 3463604"/>
              <a:gd name="connsiteX1" fmla="*/ 12212885 w 12212885"/>
              <a:gd name="connsiteY1" fmla="*/ 0 h 3463604"/>
              <a:gd name="connsiteX2" fmla="*/ 12212885 w 12212885"/>
              <a:gd name="connsiteY2" fmla="*/ 3463604 h 3463604"/>
              <a:gd name="connsiteX3" fmla="*/ 0 w 12212885"/>
              <a:gd name="connsiteY3" fmla="*/ 3463604 h 3463604"/>
              <a:gd name="connsiteX4" fmla="*/ 0 w 12212885"/>
              <a:gd name="connsiteY4" fmla="*/ 0 h 3463604"/>
              <a:gd name="connsiteX0" fmla="*/ 0 w 12212885"/>
              <a:gd name="connsiteY0" fmla="*/ 0 h 3484179"/>
              <a:gd name="connsiteX1" fmla="*/ 12212885 w 12212885"/>
              <a:gd name="connsiteY1" fmla="*/ 0 h 3484179"/>
              <a:gd name="connsiteX2" fmla="*/ 12212885 w 12212885"/>
              <a:gd name="connsiteY2" fmla="*/ 3463604 h 3484179"/>
              <a:gd name="connsiteX3" fmla="*/ 9022995 w 12212885"/>
              <a:gd name="connsiteY3" fmla="*/ 3484179 h 3484179"/>
              <a:gd name="connsiteX4" fmla="*/ 0 w 12212885"/>
              <a:gd name="connsiteY4" fmla="*/ 3463604 h 3484179"/>
              <a:gd name="connsiteX5" fmla="*/ 0 w 12212885"/>
              <a:gd name="connsiteY5" fmla="*/ 0 h 3484179"/>
              <a:gd name="connsiteX0" fmla="*/ 0 w 12228651"/>
              <a:gd name="connsiteY0" fmla="*/ 0 h 3484179"/>
              <a:gd name="connsiteX1" fmla="*/ 12212885 w 12228651"/>
              <a:gd name="connsiteY1" fmla="*/ 0 h 3484179"/>
              <a:gd name="connsiteX2" fmla="*/ 12228651 w 12228651"/>
              <a:gd name="connsiteY2" fmla="*/ 3164059 h 3484179"/>
              <a:gd name="connsiteX3" fmla="*/ 9022995 w 12228651"/>
              <a:gd name="connsiteY3" fmla="*/ 3484179 h 3484179"/>
              <a:gd name="connsiteX4" fmla="*/ 0 w 12228651"/>
              <a:gd name="connsiteY4" fmla="*/ 3463604 h 3484179"/>
              <a:gd name="connsiteX5" fmla="*/ 0 w 12228651"/>
              <a:gd name="connsiteY5" fmla="*/ 0 h 3484179"/>
              <a:gd name="connsiteX0" fmla="*/ 0 w 12228651"/>
              <a:gd name="connsiteY0" fmla="*/ 0 h 3484179"/>
              <a:gd name="connsiteX1" fmla="*/ 12212885 w 12228651"/>
              <a:gd name="connsiteY1" fmla="*/ 0 h 3484179"/>
              <a:gd name="connsiteX2" fmla="*/ 12228651 w 12228651"/>
              <a:gd name="connsiteY2" fmla="*/ 3164059 h 3484179"/>
              <a:gd name="connsiteX3" fmla="*/ 9022995 w 12228651"/>
              <a:gd name="connsiteY3" fmla="*/ 3484179 h 3484179"/>
              <a:gd name="connsiteX4" fmla="*/ 0 w 12228651"/>
              <a:gd name="connsiteY4" fmla="*/ 3463604 h 3484179"/>
              <a:gd name="connsiteX5" fmla="*/ 0 w 12228651"/>
              <a:gd name="connsiteY5" fmla="*/ 0 h 3484179"/>
              <a:gd name="connsiteX0" fmla="*/ 15765 w 12244416"/>
              <a:gd name="connsiteY0" fmla="*/ 0 h 3484179"/>
              <a:gd name="connsiteX1" fmla="*/ 12228650 w 12244416"/>
              <a:gd name="connsiteY1" fmla="*/ 0 h 3484179"/>
              <a:gd name="connsiteX2" fmla="*/ 12244416 w 12244416"/>
              <a:gd name="connsiteY2" fmla="*/ 3164059 h 3484179"/>
              <a:gd name="connsiteX3" fmla="*/ 9038760 w 12244416"/>
              <a:gd name="connsiteY3" fmla="*/ 3484179 h 3484179"/>
              <a:gd name="connsiteX4" fmla="*/ 0 w 12244416"/>
              <a:gd name="connsiteY4" fmla="*/ 610046 h 3484179"/>
              <a:gd name="connsiteX5" fmla="*/ 15765 w 12244416"/>
              <a:gd name="connsiteY5" fmla="*/ 0 h 3484179"/>
              <a:gd name="connsiteX0" fmla="*/ 15765 w 12244416"/>
              <a:gd name="connsiteY0" fmla="*/ 0 h 3484179"/>
              <a:gd name="connsiteX1" fmla="*/ 12228650 w 12244416"/>
              <a:gd name="connsiteY1" fmla="*/ 0 h 3484179"/>
              <a:gd name="connsiteX2" fmla="*/ 12244416 w 12244416"/>
              <a:gd name="connsiteY2" fmla="*/ 3164059 h 3484179"/>
              <a:gd name="connsiteX3" fmla="*/ 9038760 w 12244416"/>
              <a:gd name="connsiteY3" fmla="*/ 3484179 h 3484179"/>
              <a:gd name="connsiteX4" fmla="*/ 0 w 12244416"/>
              <a:gd name="connsiteY4" fmla="*/ 610046 h 3484179"/>
              <a:gd name="connsiteX5" fmla="*/ 15765 w 12244416"/>
              <a:gd name="connsiteY5" fmla="*/ 0 h 3484179"/>
              <a:gd name="connsiteX0" fmla="*/ 15765 w 12244416"/>
              <a:gd name="connsiteY0" fmla="*/ 0 h 3167582"/>
              <a:gd name="connsiteX1" fmla="*/ 12228650 w 12244416"/>
              <a:gd name="connsiteY1" fmla="*/ 0 h 3167582"/>
              <a:gd name="connsiteX2" fmla="*/ 12244416 w 12244416"/>
              <a:gd name="connsiteY2" fmla="*/ 3164059 h 3167582"/>
              <a:gd name="connsiteX3" fmla="*/ 0 w 12244416"/>
              <a:gd name="connsiteY3" fmla="*/ 610046 h 3167582"/>
              <a:gd name="connsiteX4" fmla="*/ 15765 w 12244416"/>
              <a:gd name="connsiteY4" fmla="*/ 0 h 3167582"/>
              <a:gd name="connsiteX0" fmla="*/ 15765 w 12244416"/>
              <a:gd name="connsiteY0" fmla="*/ 0 h 3432561"/>
              <a:gd name="connsiteX1" fmla="*/ 12228650 w 12244416"/>
              <a:gd name="connsiteY1" fmla="*/ 0 h 3432561"/>
              <a:gd name="connsiteX2" fmla="*/ 12244416 w 12244416"/>
              <a:gd name="connsiteY2" fmla="*/ 3164059 h 3432561"/>
              <a:gd name="connsiteX3" fmla="*/ 0 w 12244416"/>
              <a:gd name="connsiteY3" fmla="*/ 610046 h 3432561"/>
              <a:gd name="connsiteX4" fmla="*/ 15765 w 12244416"/>
              <a:gd name="connsiteY4" fmla="*/ 0 h 3432561"/>
              <a:gd name="connsiteX0" fmla="*/ 15765 w 12244416"/>
              <a:gd name="connsiteY0" fmla="*/ 0 h 3473369"/>
              <a:gd name="connsiteX1" fmla="*/ 12228650 w 12244416"/>
              <a:gd name="connsiteY1" fmla="*/ 0 h 3473369"/>
              <a:gd name="connsiteX2" fmla="*/ 12244416 w 12244416"/>
              <a:gd name="connsiteY2" fmla="*/ 3164059 h 3473369"/>
              <a:gd name="connsiteX3" fmla="*/ 0 w 12244416"/>
              <a:gd name="connsiteY3" fmla="*/ 610046 h 3473369"/>
              <a:gd name="connsiteX4" fmla="*/ 15765 w 12244416"/>
              <a:gd name="connsiteY4" fmla="*/ 0 h 3473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44416" h="3473369">
                <a:moveTo>
                  <a:pt x="15765" y="0"/>
                </a:moveTo>
                <a:lnTo>
                  <a:pt x="12228650" y="0"/>
                </a:lnTo>
                <a:cubicBezTo>
                  <a:pt x="12233905" y="1054686"/>
                  <a:pt x="12239161" y="2109373"/>
                  <a:pt x="12244416" y="3164059"/>
                </a:cubicBezTo>
                <a:cubicBezTo>
                  <a:pt x="10742335" y="3360326"/>
                  <a:pt x="5837598" y="4511209"/>
                  <a:pt x="0" y="610046"/>
                </a:cubicBezTo>
                <a:lnTo>
                  <a:pt x="15765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nb-NO"/>
              <a:t>Klikk ikonet for å legge til et b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30969614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B">
    <p:bg>
      <p:bgPr>
        <a:solidFill>
          <a:srgbClr val="0033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E58864-D613-E442-98F2-A61AE2F7FAC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9007" y="4985259"/>
            <a:ext cx="11212069" cy="1185735"/>
          </a:xfrm>
        </p:spPr>
        <p:txBody>
          <a:bodyPr>
            <a:normAutofit/>
          </a:bodyPr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457200" indent="0">
              <a:lnSpc>
                <a:spcPts val="3200"/>
              </a:lnSpc>
              <a:buNone/>
              <a:defRPr/>
            </a:lvl2pPr>
            <a:lvl3pPr>
              <a:defRPr sz="2400" b="0"/>
            </a:lvl3pPr>
            <a:lvl4pPr>
              <a:defRPr sz="2400" b="0"/>
            </a:lvl4pPr>
            <a:lvl5pPr>
              <a:defRPr sz="2400" b="0"/>
            </a:lvl5pPr>
          </a:lstStyle>
          <a:p>
            <a:pPr lvl="0"/>
            <a:r>
              <a:rPr lang="en-US" dirty="0"/>
              <a:t>Second level</a:t>
            </a:r>
            <a:endParaRPr lang="nb-NO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7D756D-2099-A44A-838F-CDD66E56E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43FF4E6-58C8-7F4B-9D69-F52DADEF37D9}" type="datetime1">
              <a:rPr lang="nb-NO" smtClean="0"/>
              <a:t>07.05.2021</a:t>
            </a:fld>
            <a:endParaRPr lang="nb-NO" dirty="0"/>
          </a:p>
        </p:txBody>
      </p:sp>
      <p:pic>
        <p:nvPicPr>
          <p:cNvPr id="9" name="Picture 5">
            <a:extLst>
              <a:ext uri="{FF2B5EF4-FFF2-40B4-BE49-F238E27FC236}">
                <a16:creationId xmlns:a16="http://schemas.microsoft.com/office/drawing/2014/main" id="{2943858E-FB19-B949-96AA-3190E5D564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8658" y="6440567"/>
            <a:ext cx="744333" cy="211863"/>
          </a:xfrm>
          <a:prstGeom prst="rect">
            <a:avLst/>
          </a:prstGeom>
        </p:spPr>
      </p:pic>
      <p:sp>
        <p:nvSpPr>
          <p:cNvPr id="6" name="Tittel 5">
            <a:extLst>
              <a:ext uri="{FF2B5EF4-FFF2-40B4-BE49-F238E27FC236}">
                <a16:creationId xmlns:a16="http://schemas.microsoft.com/office/drawing/2014/main" id="{3DA25767-2F24-7047-B393-7D3AA4618D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6937" y="2697625"/>
            <a:ext cx="11212069" cy="2149474"/>
          </a:xfrm>
        </p:spPr>
        <p:txBody>
          <a:bodyPr anchor="b" anchorCtr="0">
            <a:normAutofit/>
          </a:bodyPr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apittel tittel</a:t>
            </a:r>
          </a:p>
        </p:txBody>
      </p:sp>
      <p:pic>
        <p:nvPicPr>
          <p:cNvPr id="7" name="Picture 13">
            <a:extLst>
              <a:ext uri="{FF2B5EF4-FFF2-40B4-BE49-F238E27FC236}">
                <a16:creationId xmlns:a16="http://schemas.microsoft.com/office/drawing/2014/main" id="{CB593804-6596-E243-98E8-FD629FF4797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898658" y="6440566"/>
            <a:ext cx="744334" cy="2118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585239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B - with image">
    <p:bg>
      <p:bgPr>
        <a:solidFill>
          <a:srgbClr val="0033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E58864-D613-E442-98F2-A61AE2F7FAC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49007" y="4985259"/>
            <a:ext cx="11212069" cy="1185735"/>
          </a:xfrm>
        </p:spPr>
        <p:txBody>
          <a:bodyPr>
            <a:normAutofit/>
          </a:bodyPr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457200" indent="0">
              <a:lnSpc>
                <a:spcPts val="3200"/>
              </a:lnSpc>
              <a:buNone/>
              <a:defRPr/>
            </a:lvl2pPr>
            <a:lvl3pPr>
              <a:defRPr sz="2400" b="0"/>
            </a:lvl3pPr>
            <a:lvl4pPr>
              <a:defRPr sz="2400" b="0"/>
            </a:lvl4pPr>
            <a:lvl5pPr>
              <a:defRPr sz="2400" b="0"/>
            </a:lvl5pPr>
          </a:lstStyle>
          <a:p>
            <a:pPr lvl="0"/>
            <a:r>
              <a:rPr lang="en-US" dirty="0"/>
              <a:t>Second level</a:t>
            </a:r>
            <a:endParaRPr lang="nb-NO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7D756D-2099-A44A-838F-CDD66E56E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43FF4E6-58C8-7F4B-9D69-F52DADEF37D9}" type="datetime1">
              <a:rPr lang="nb-NO" smtClean="0"/>
              <a:t>07.05.2021</a:t>
            </a:fld>
            <a:endParaRPr lang="nb-NO" dirty="0"/>
          </a:p>
        </p:txBody>
      </p:sp>
      <p:pic>
        <p:nvPicPr>
          <p:cNvPr id="9" name="Picture 5">
            <a:extLst>
              <a:ext uri="{FF2B5EF4-FFF2-40B4-BE49-F238E27FC236}">
                <a16:creationId xmlns:a16="http://schemas.microsoft.com/office/drawing/2014/main" id="{2943858E-FB19-B949-96AA-3190E5D564B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898658" y="6440567"/>
            <a:ext cx="744333" cy="211863"/>
          </a:xfrm>
          <a:prstGeom prst="rect">
            <a:avLst/>
          </a:prstGeom>
        </p:spPr>
      </p:pic>
      <p:sp>
        <p:nvSpPr>
          <p:cNvPr id="6" name="Tittel 5">
            <a:extLst>
              <a:ext uri="{FF2B5EF4-FFF2-40B4-BE49-F238E27FC236}">
                <a16:creationId xmlns:a16="http://schemas.microsoft.com/office/drawing/2014/main" id="{3DA25767-2F24-7047-B393-7D3AA4618D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6937" y="2697625"/>
            <a:ext cx="11212069" cy="2149474"/>
          </a:xfrm>
        </p:spPr>
        <p:txBody>
          <a:bodyPr anchor="b" anchorCtr="0">
            <a:normAutofit/>
          </a:bodyPr>
          <a:lstStyle>
            <a:lvl1pPr>
              <a:defRPr sz="540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apittel tittel</a:t>
            </a:r>
          </a:p>
        </p:txBody>
      </p:sp>
      <p:pic>
        <p:nvPicPr>
          <p:cNvPr id="7" name="Picture 13">
            <a:extLst>
              <a:ext uri="{FF2B5EF4-FFF2-40B4-BE49-F238E27FC236}">
                <a16:creationId xmlns:a16="http://schemas.microsoft.com/office/drawing/2014/main" id="{CB593804-6596-E243-98E8-FD629FF4797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898658" y="6440566"/>
            <a:ext cx="744334" cy="211863"/>
          </a:xfrm>
          <a:prstGeom prst="rect">
            <a:avLst/>
          </a:prstGeom>
        </p:spPr>
      </p:pic>
      <p:sp>
        <p:nvSpPr>
          <p:cNvPr id="8" name="Plassholder for bilde 4">
            <a:extLst>
              <a:ext uri="{FF2B5EF4-FFF2-40B4-BE49-F238E27FC236}">
                <a16:creationId xmlns:a16="http://schemas.microsoft.com/office/drawing/2014/main" id="{5CAF5EBD-C508-2044-822C-8C9D974934F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-489858"/>
            <a:ext cx="12244416" cy="4084396"/>
          </a:xfrm>
          <a:custGeom>
            <a:avLst/>
            <a:gdLst>
              <a:gd name="connsiteX0" fmla="*/ 0 w 12212885"/>
              <a:gd name="connsiteY0" fmla="*/ 0 h 3463604"/>
              <a:gd name="connsiteX1" fmla="*/ 12212885 w 12212885"/>
              <a:gd name="connsiteY1" fmla="*/ 0 h 3463604"/>
              <a:gd name="connsiteX2" fmla="*/ 12212885 w 12212885"/>
              <a:gd name="connsiteY2" fmla="*/ 3463604 h 3463604"/>
              <a:gd name="connsiteX3" fmla="*/ 0 w 12212885"/>
              <a:gd name="connsiteY3" fmla="*/ 3463604 h 3463604"/>
              <a:gd name="connsiteX4" fmla="*/ 0 w 12212885"/>
              <a:gd name="connsiteY4" fmla="*/ 0 h 3463604"/>
              <a:gd name="connsiteX0" fmla="*/ 0 w 12212885"/>
              <a:gd name="connsiteY0" fmla="*/ 0 h 3484179"/>
              <a:gd name="connsiteX1" fmla="*/ 12212885 w 12212885"/>
              <a:gd name="connsiteY1" fmla="*/ 0 h 3484179"/>
              <a:gd name="connsiteX2" fmla="*/ 12212885 w 12212885"/>
              <a:gd name="connsiteY2" fmla="*/ 3463604 h 3484179"/>
              <a:gd name="connsiteX3" fmla="*/ 9022995 w 12212885"/>
              <a:gd name="connsiteY3" fmla="*/ 3484179 h 3484179"/>
              <a:gd name="connsiteX4" fmla="*/ 0 w 12212885"/>
              <a:gd name="connsiteY4" fmla="*/ 3463604 h 3484179"/>
              <a:gd name="connsiteX5" fmla="*/ 0 w 12212885"/>
              <a:gd name="connsiteY5" fmla="*/ 0 h 3484179"/>
              <a:gd name="connsiteX0" fmla="*/ 0 w 12228651"/>
              <a:gd name="connsiteY0" fmla="*/ 0 h 3484179"/>
              <a:gd name="connsiteX1" fmla="*/ 12212885 w 12228651"/>
              <a:gd name="connsiteY1" fmla="*/ 0 h 3484179"/>
              <a:gd name="connsiteX2" fmla="*/ 12228651 w 12228651"/>
              <a:gd name="connsiteY2" fmla="*/ 3164059 h 3484179"/>
              <a:gd name="connsiteX3" fmla="*/ 9022995 w 12228651"/>
              <a:gd name="connsiteY3" fmla="*/ 3484179 h 3484179"/>
              <a:gd name="connsiteX4" fmla="*/ 0 w 12228651"/>
              <a:gd name="connsiteY4" fmla="*/ 3463604 h 3484179"/>
              <a:gd name="connsiteX5" fmla="*/ 0 w 12228651"/>
              <a:gd name="connsiteY5" fmla="*/ 0 h 3484179"/>
              <a:gd name="connsiteX0" fmla="*/ 0 w 12228651"/>
              <a:gd name="connsiteY0" fmla="*/ 0 h 3484179"/>
              <a:gd name="connsiteX1" fmla="*/ 12212885 w 12228651"/>
              <a:gd name="connsiteY1" fmla="*/ 0 h 3484179"/>
              <a:gd name="connsiteX2" fmla="*/ 12228651 w 12228651"/>
              <a:gd name="connsiteY2" fmla="*/ 3164059 h 3484179"/>
              <a:gd name="connsiteX3" fmla="*/ 9022995 w 12228651"/>
              <a:gd name="connsiteY3" fmla="*/ 3484179 h 3484179"/>
              <a:gd name="connsiteX4" fmla="*/ 0 w 12228651"/>
              <a:gd name="connsiteY4" fmla="*/ 3463604 h 3484179"/>
              <a:gd name="connsiteX5" fmla="*/ 0 w 12228651"/>
              <a:gd name="connsiteY5" fmla="*/ 0 h 3484179"/>
              <a:gd name="connsiteX0" fmla="*/ 15765 w 12244416"/>
              <a:gd name="connsiteY0" fmla="*/ 0 h 3484179"/>
              <a:gd name="connsiteX1" fmla="*/ 12228650 w 12244416"/>
              <a:gd name="connsiteY1" fmla="*/ 0 h 3484179"/>
              <a:gd name="connsiteX2" fmla="*/ 12244416 w 12244416"/>
              <a:gd name="connsiteY2" fmla="*/ 3164059 h 3484179"/>
              <a:gd name="connsiteX3" fmla="*/ 9038760 w 12244416"/>
              <a:gd name="connsiteY3" fmla="*/ 3484179 h 3484179"/>
              <a:gd name="connsiteX4" fmla="*/ 0 w 12244416"/>
              <a:gd name="connsiteY4" fmla="*/ 610046 h 3484179"/>
              <a:gd name="connsiteX5" fmla="*/ 15765 w 12244416"/>
              <a:gd name="connsiteY5" fmla="*/ 0 h 3484179"/>
              <a:gd name="connsiteX0" fmla="*/ 15765 w 12244416"/>
              <a:gd name="connsiteY0" fmla="*/ 0 h 3484179"/>
              <a:gd name="connsiteX1" fmla="*/ 12228650 w 12244416"/>
              <a:gd name="connsiteY1" fmla="*/ 0 h 3484179"/>
              <a:gd name="connsiteX2" fmla="*/ 12244416 w 12244416"/>
              <a:gd name="connsiteY2" fmla="*/ 3164059 h 3484179"/>
              <a:gd name="connsiteX3" fmla="*/ 9038760 w 12244416"/>
              <a:gd name="connsiteY3" fmla="*/ 3484179 h 3484179"/>
              <a:gd name="connsiteX4" fmla="*/ 0 w 12244416"/>
              <a:gd name="connsiteY4" fmla="*/ 610046 h 3484179"/>
              <a:gd name="connsiteX5" fmla="*/ 15765 w 12244416"/>
              <a:gd name="connsiteY5" fmla="*/ 0 h 3484179"/>
              <a:gd name="connsiteX0" fmla="*/ 15765 w 12244416"/>
              <a:gd name="connsiteY0" fmla="*/ 0 h 3167582"/>
              <a:gd name="connsiteX1" fmla="*/ 12228650 w 12244416"/>
              <a:gd name="connsiteY1" fmla="*/ 0 h 3167582"/>
              <a:gd name="connsiteX2" fmla="*/ 12244416 w 12244416"/>
              <a:gd name="connsiteY2" fmla="*/ 3164059 h 3167582"/>
              <a:gd name="connsiteX3" fmla="*/ 0 w 12244416"/>
              <a:gd name="connsiteY3" fmla="*/ 610046 h 3167582"/>
              <a:gd name="connsiteX4" fmla="*/ 15765 w 12244416"/>
              <a:gd name="connsiteY4" fmla="*/ 0 h 3167582"/>
              <a:gd name="connsiteX0" fmla="*/ 15765 w 12244416"/>
              <a:gd name="connsiteY0" fmla="*/ 0 h 3432561"/>
              <a:gd name="connsiteX1" fmla="*/ 12228650 w 12244416"/>
              <a:gd name="connsiteY1" fmla="*/ 0 h 3432561"/>
              <a:gd name="connsiteX2" fmla="*/ 12244416 w 12244416"/>
              <a:gd name="connsiteY2" fmla="*/ 3164059 h 3432561"/>
              <a:gd name="connsiteX3" fmla="*/ 0 w 12244416"/>
              <a:gd name="connsiteY3" fmla="*/ 610046 h 3432561"/>
              <a:gd name="connsiteX4" fmla="*/ 15765 w 12244416"/>
              <a:gd name="connsiteY4" fmla="*/ 0 h 3432561"/>
              <a:gd name="connsiteX0" fmla="*/ 15765 w 12244416"/>
              <a:gd name="connsiteY0" fmla="*/ 0 h 3473369"/>
              <a:gd name="connsiteX1" fmla="*/ 12228650 w 12244416"/>
              <a:gd name="connsiteY1" fmla="*/ 0 h 3473369"/>
              <a:gd name="connsiteX2" fmla="*/ 12244416 w 12244416"/>
              <a:gd name="connsiteY2" fmla="*/ 3164059 h 3473369"/>
              <a:gd name="connsiteX3" fmla="*/ 0 w 12244416"/>
              <a:gd name="connsiteY3" fmla="*/ 610046 h 3473369"/>
              <a:gd name="connsiteX4" fmla="*/ 15765 w 12244416"/>
              <a:gd name="connsiteY4" fmla="*/ 0 h 3473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44416" h="3473369">
                <a:moveTo>
                  <a:pt x="15765" y="0"/>
                </a:moveTo>
                <a:lnTo>
                  <a:pt x="12228650" y="0"/>
                </a:lnTo>
                <a:cubicBezTo>
                  <a:pt x="12233905" y="1054686"/>
                  <a:pt x="12239161" y="2109373"/>
                  <a:pt x="12244416" y="3164059"/>
                </a:cubicBezTo>
                <a:cubicBezTo>
                  <a:pt x="10742335" y="3360326"/>
                  <a:pt x="5837598" y="4511209"/>
                  <a:pt x="0" y="610046"/>
                </a:cubicBezTo>
                <a:lnTo>
                  <a:pt x="15765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nb-NO"/>
              <a:t>Klikk ikonet for å legge til et b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4433922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Ingen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1" imgH="472" progId="TCLayout.ActiveDocument.1">
                  <p:embed/>
                </p:oleObj>
              </mc:Choice>
              <mc:Fallback>
                <p:oleObj name="think-cell Slide" r:id="rId3" imgW="471" imgH="472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11AD42-ED7A-4C6E-8347-826D2249171C}" type="datetimeFigureOut">
              <a:rPr lang="nb-NO" smtClean="0"/>
              <a:t>07.05.2021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82B9B1-E5CC-4162-9683-1B7647BECBD6}" type="slidenum">
              <a:rPr lang="nb-NO" smtClean="0"/>
              <a:t>‹#›</a:t>
            </a:fld>
            <a:endParaRPr lang="nb-NO"/>
          </a:p>
        </p:txBody>
      </p:sp>
      <p:sp>
        <p:nvSpPr>
          <p:cNvPr id="7" name="Rektangel 6"/>
          <p:cNvSpPr/>
          <p:nvPr/>
        </p:nvSpPr>
        <p:spPr>
          <a:xfrm>
            <a:off x="0" y="0"/>
            <a:ext cx="12192000" cy="7112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/>
          </p:nvPr>
        </p:nvSpPr>
        <p:spPr>
          <a:xfrm>
            <a:off x="409879" y="245837"/>
            <a:ext cx="7224636" cy="363764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133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1" name="TekstSylinder 10"/>
          <p:cNvSpPr txBox="1"/>
          <p:nvPr/>
        </p:nvSpPr>
        <p:spPr>
          <a:xfrm>
            <a:off x="1937084" y="561273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nb-NO" dirty="0"/>
          </a:p>
        </p:txBody>
      </p:sp>
      <p:sp>
        <p:nvSpPr>
          <p:cNvPr id="12" name="TekstSylinder 11"/>
          <p:cNvSpPr txBox="1"/>
          <p:nvPr/>
        </p:nvSpPr>
        <p:spPr>
          <a:xfrm>
            <a:off x="1937084" y="5612732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nb-NO" dirty="0"/>
          </a:p>
        </p:txBody>
      </p:sp>
      <p:pic>
        <p:nvPicPr>
          <p:cNvPr id="2" name="Bilde 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8400" y="219600"/>
            <a:ext cx="1353405" cy="38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155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1886" y="841827"/>
            <a:ext cx="11364687" cy="790803"/>
          </a:xfrm>
        </p:spPr>
        <p:txBody>
          <a:bodyPr>
            <a:noAutofit/>
          </a:bodyPr>
          <a:lstStyle>
            <a:lvl1pPr>
              <a:defRPr sz="2933" b="1">
                <a:solidFill>
                  <a:schemeClr val="tx2"/>
                </a:solidFill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41E2EB-ABF3-3B4A-AD19-8E6E98D5BEA4}" type="datetime1">
              <a:rPr lang="nb-NO" smtClean="0"/>
              <a:t>07.05.2021</a:t>
            </a:fld>
            <a:endParaRPr lang="nb-NO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nb-NO" dirty="0" err="1"/>
              <a:t>Insert</a:t>
            </a:r>
            <a:r>
              <a:rPr lang="nb-NO" dirty="0"/>
              <a:t> legal </a:t>
            </a:r>
            <a:r>
              <a:rPr lang="nb-NO" dirty="0" err="1"/>
              <a:t>entity</a:t>
            </a:r>
            <a:endParaRPr lang="nb-NO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nb-NO" dirty="0"/>
              <a:t>[</a:t>
            </a:r>
            <a:r>
              <a:rPr lang="nb-NO" dirty="0" err="1"/>
              <a:t>insertdate</a:t>
            </a:r>
            <a:r>
              <a:rPr lang="nb-NO" dirty="0"/>
              <a:t>]  |  </a:t>
            </a:r>
            <a:fld id="{0B3627CE-B1B3-3444-8C2F-F8D22F1C96BB}" type="slidenum">
              <a:rPr lang="nb-NO" smtClean="0"/>
              <a:pPr>
                <a:defRPr/>
              </a:pPr>
              <a:t>‹#›</a:t>
            </a:fld>
            <a:endParaRPr lang="nb-NO" dirty="0"/>
          </a:p>
        </p:txBody>
      </p:sp>
      <p:sp>
        <p:nvSpPr>
          <p:cNvPr id="7" name="Rektangel 6"/>
          <p:cNvSpPr/>
          <p:nvPr userDrawn="1"/>
        </p:nvSpPr>
        <p:spPr>
          <a:xfrm>
            <a:off x="0" y="0"/>
            <a:ext cx="12192000" cy="7112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/>
          </p:nvPr>
        </p:nvSpPr>
        <p:spPr>
          <a:xfrm>
            <a:off x="409879" y="245837"/>
            <a:ext cx="7224636" cy="363764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133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6749" y="217716"/>
            <a:ext cx="1354337" cy="385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9192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1886" y="841827"/>
            <a:ext cx="11364687" cy="790803"/>
          </a:xfrm>
          <a:prstGeom prst="rect">
            <a:avLst/>
          </a:prstGeom>
        </p:spPr>
        <p:txBody>
          <a:bodyPr lIns="55440" tIns="45720" rIns="55440" bIns="45720">
            <a:noAutofit/>
          </a:bodyPr>
          <a:lstStyle>
            <a:lvl1pPr>
              <a:defRPr sz="2800" b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nb-NO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91886" y="6480702"/>
            <a:ext cx="1152000" cy="205204"/>
          </a:xfrm>
        </p:spPr>
        <p:txBody>
          <a:bodyPr/>
          <a:lstStyle/>
          <a:p>
            <a:fld id="{6F3B2660-7DDE-4967-A0D9-C069924F7174}" type="datetimeFigureOut">
              <a:rPr lang="en-US" smtClean="0"/>
              <a:t>5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543886" y="6480702"/>
            <a:ext cx="9060688" cy="20520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604573" y="6480702"/>
            <a:ext cx="1152000" cy="205204"/>
          </a:xfrm>
        </p:spPr>
        <p:txBody>
          <a:bodyPr/>
          <a:lstStyle/>
          <a:p>
            <a:fld id="{AA4CB005-23A2-463A-8077-8110683E181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ktangel 6"/>
          <p:cNvSpPr/>
          <p:nvPr/>
        </p:nvSpPr>
        <p:spPr>
          <a:xfrm>
            <a:off x="0" y="0"/>
            <a:ext cx="12192000" cy="7112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 dirty="0"/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3"/>
          </p:nvPr>
        </p:nvSpPr>
        <p:spPr>
          <a:xfrm>
            <a:off x="391886" y="245837"/>
            <a:ext cx="7224636" cy="363764"/>
          </a:xfrm>
          <a:prstGeom prst="rect">
            <a:avLst/>
          </a:prstGeom>
        </p:spPr>
        <p:txBody>
          <a:bodyPr lIns="55440" tIns="45720" rIns="55440" bIns="45720">
            <a:noAutofit/>
          </a:bodyPr>
          <a:lstStyle>
            <a:lvl1pPr marL="0" indent="0">
              <a:buFontTx/>
              <a:buNone/>
              <a:defRPr sz="20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Bilde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6749" y="217716"/>
            <a:ext cx="1354337" cy="385219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idx="14"/>
          </p:nvPr>
        </p:nvSpPr>
        <p:spPr>
          <a:xfrm>
            <a:off x="391885" y="1799772"/>
            <a:ext cx="11379201" cy="4377192"/>
          </a:xfrm>
          <a:prstGeom prst="rect">
            <a:avLst/>
          </a:prstGeom>
        </p:spPr>
        <p:txBody>
          <a:bodyPr lIns="54000" tIns="72000" rIns="0" bIns="0"/>
          <a:lstStyle>
            <a:lvl1pPr defTabSz="720000">
              <a:defRPr sz="1400"/>
            </a:lvl1pPr>
            <a:lvl2pPr marL="542925" indent="-227013">
              <a:buFont typeface="Calibri" panose="020F0502020204030204" pitchFamily="34" charset="0"/>
              <a:buChar char="−"/>
              <a:defRPr sz="1400"/>
            </a:lvl2pPr>
            <a:lvl3pPr marL="809625" indent="-227013">
              <a:buFont typeface="Wingdings" panose="05000000000000000000" pitchFamily="2" charset="2"/>
              <a:buChar char="§"/>
              <a:defRPr sz="1400"/>
            </a:lvl3pPr>
            <a:lvl4pPr marL="1076325" indent="-227013">
              <a:buFont typeface="Courier New" panose="02070309020205020404" pitchFamily="49" charset="0"/>
              <a:buChar char="o"/>
              <a:defRPr sz="1400"/>
            </a:lvl4pPr>
            <a:lvl5pPr marL="1343025" indent="-227013"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489323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content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5">
            <a:extLst>
              <a:ext uri="{FF2B5EF4-FFF2-40B4-BE49-F238E27FC236}">
                <a16:creationId xmlns:a16="http://schemas.microsoft.com/office/drawing/2014/main" id="{2943858E-FB19-B949-96AA-3190E5D564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98658" y="6440567"/>
            <a:ext cx="744333" cy="211863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4F89B944-4246-F740-B530-D92E8B2D4D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8" name="Plassholder for innhold 5">
            <a:extLst>
              <a:ext uri="{FF2B5EF4-FFF2-40B4-BE49-F238E27FC236}">
                <a16:creationId xmlns:a16="http://schemas.microsoft.com/office/drawing/2014/main" id="{8B89D76B-8396-DF41-8BF7-0DE1B1ED2CB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49007" y="1825625"/>
            <a:ext cx="11093984" cy="435133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92214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content A - with ele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69321AC5-5C1E-5A4D-882E-93BCD9C9CF3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7D756D-2099-A44A-838F-CDD66E56E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1862A-D976-A740-ADCB-0272E0249D7F}" type="datetime1">
              <a:rPr lang="nb-NO" smtClean="0"/>
              <a:t>07.05.2021</a:t>
            </a:fld>
            <a:endParaRPr lang="nb-NO"/>
          </a:p>
        </p:txBody>
      </p:sp>
      <p:pic>
        <p:nvPicPr>
          <p:cNvPr id="9" name="Picture 5">
            <a:extLst>
              <a:ext uri="{FF2B5EF4-FFF2-40B4-BE49-F238E27FC236}">
                <a16:creationId xmlns:a16="http://schemas.microsoft.com/office/drawing/2014/main" id="{2943858E-FB19-B949-96AA-3190E5D564B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898658" y="6440567"/>
            <a:ext cx="744333" cy="211863"/>
          </a:xfrm>
          <a:prstGeom prst="rect">
            <a:avLst/>
          </a:prstGeom>
        </p:spPr>
      </p:pic>
      <p:sp>
        <p:nvSpPr>
          <p:cNvPr id="5" name="Tittel 4">
            <a:extLst>
              <a:ext uri="{FF2B5EF4-FFF2-40B4-BE49-F238E27FC236}">
                <a16:creationId xmlns:a16="http://schemas.microsoft.com/office/drawing/2014/main" id="{C4126772-88A3-2A49-8374-C4805756FC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7" name="Plassholder for innhold 5">
            <a:extLst>
              <a:ext uri="{FF2B5EF4-FFF2-40B4-BE49-F238E27FC236}">
                <a16:creationId xmlns:a16="http://schemas.microsoft.com/office/drawing/2014/main" id="{78079D0C-795D-0047-ACC5-765028518FED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49007" y="1825625"/>
            <a:ext cx="11093984" cy="435133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3970647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17" Type="http://schemas.openxmlformats.org/officeDocument/2006/relationships/image" Target="../media/image3.tif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23.xml"/><Relationship Id="rId18" Type="http://schemas.openxmlformats.org/officeDocument/2006/relationships/slideLayout" Target="../slideLayouts/slideLayout28.xml"/><Relationship Id="rId3" Type="http://schemas.openxmlformats.org/officeDocument/2006/relationships/slideLayout" Target="../slideLayouts/slideLayout13.xml"/><Relationship Id="rId21" Type="http://schemas.openxmlformats.org/officeDocument/2006/relationships/slideLayout" Target="../slideLayouts/slideLayout31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1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2.xml"/><Relationship Id="rId16" Type="http://schemas.openxmlformats.org/officeDocument/2006/relationships/slideLayout" Target="../slideLayouts/slideLayout26.xml"/><Relationship Id="rId20" Type="http://schemas.openxmlformats.org/officeDocument/2006/relationships/slideLayout" Target="../slideLayouts/slideLayout30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5" Type="http://schemas.openxmlformats.org/officeDocument/2006/relationships/slideLayout" Target="../slideLayouts/slideLayout25.xml"/><Relationship Id="rId23" Type="http://schemas.openxmlformats.org/officeDocument/2006/relationships/image" Target="../media/image7.emf"/><Relationship Id="rId10" Type="http://schemas.openxmlformats.org/officeDocument/2006/relationships/slideLayout" Target="../slideLayouts/slideLayout20.xml"/><Relationship Id="rId19" Type="http://schemas.openxmlformats.org/officeDocument/2006/relationships/slideLayout" Target="../slideLayouts/slideLayout29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4.xml"/><Relationship Id="rId2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4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47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5" Type="http://schemas.openxmlformats.org/officeDocument/2006/relationships/slideLayout" Target="../slideLayouts/slideLayout46.xml"/><Relationship Id="rId10" Type="http://schemas.openxmlformats.org/officeDocument/2006/relationships/slideLayout" Target="../slideLayouts/slideLayout41.xml"/><Relationship Id="rId19" Type="http://schemas.openxmlformats.org/officeDocument/2006/relationships/image" Target="../media/image7.emf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773140579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1" imgH="472" progId="TCLayout.ActiveDocument.1">
                  <p:embed/>
                </p:oleObj>
              </mc:Choice>
              <mc:Fallback>
                <p:oleObj name="think-cell Slide" r:id="rId14" imgW="471" imgH="472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ktangel 12" hidden="1">
            <a:extLst>
              <a:ext uri="{FF2B5EF4-FFF2-40B4-BE49-F238E27FC236}">
                <a16:creationId xmlns:a16="http://schemas.microsoft.com/office/drawing/2014/main" id="{EB3134E7-0E38-4B79-96C9-C7B93701A4EB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2800" b="1" i="0" baseline="0" dirty="0"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24517" y="890587"/>
            <a:ext cx="11217540" cy="80010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nb-NO" dirty="0"/>
              <a:t>Klikk for å redigere tittelsti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2516" y="1825625"/>
            <a:ext cx="11231000" cy="43513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0" lvl="0" indent="0" algn="l" defTabSz="914377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nb-NO" dirty="0"/>
              <a:t>Klikk for å redigere tekststiler i malen</a:t>
            </a:r>
          </a:p>
          <a:p>
            <a:pPr marL="450850" lvl="1" indent="-227013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pPr>
            <a:r>
              <a:rPr lang="nb-NO" dirty="0"/>
              <a:t>Andre nivå</a:t>
            </a:r>
          </a:p>
          <a:p>
            <a:pPr marL="804863" lvl="2" indent="-227013" algn="l" defTabSz="914377" rtl="0" eaLnBrk="1" latinLnBrk="0" hangingPunct="1">
              <a:lnSpc>
                <a:spcPct val="90000"/>
              </a:lnSpc>
              <a:spcBef>
                <a:spcPts val="500"/>
              </a:spcBef>
              <a:buSzPct val="120000"/>
              <a:buFont typeface="Calibri" panose="020F0502020204030204" pitchFamily="34" charset="0"/>
              <a:buChar char="◦"/>
            </a:pPr>
            <a:r>
              <a:rPr lang="nb-NO" dirty="0"/>
              <a:t>Tredje nivå</a:t>
            </a:r>
          </a:p>
          <a:p>
            <a:pPr marL="1166813" lvl="3" indent="-227013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Wingdings" panose="05000000000000000000" pitchFamily="2" charset="2"/>
              <a:buChar char="§"/>
            </a:pPr>
            <a:r>
              <a:rPr lang="nb-NO" dirty="0"/>
              <a:t>Fjerde nivå</a:t>
            </a:r>
          </a:p>
          <a:p>
            <a:pPr marL="1433513" lvl="4" indent="-227013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▫"/>
            </a:pPr>
            <a:r>
              <a:rPr lang="nb-NO" dirty="0"/>
              <a:t>Femte nivå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5481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fld id="{6711AD42-ED7A-4C6E-8347-826D2249171C}" type="datetimeFigureOut">
              <a:rPr lang="nb-NO" smtClean="0"/>
              <a:t>07.05.2021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07658" y="6356351"/>
            <a:ext cx="582022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0170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fld id="{5A82B9B1-E5CC-4162-9683-1B7647BECBD6}" type="slidenum">
              <a:rPr lang="nb-NO" smtClean="0"/>
              <a:t>‹#›</a:t>
            </a:fld>
            <a:endParaRPr lang="nb-NO"/>
          </a:p>
        </p:txBody>
      </p:sp>
      <p:sp>
        <p:nvSpPr>
          <p:cNvPr id="8" name="Rektangel 7"/>
          <p:cNvSpPr/>
          <p:nvPr/>
        </p:nvSpPr>
        <p:spPr>
          <a:xfrm>
            <a:off x="0" y="0"/>
            <a:ext cx="12192000" cy="7112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pic>
        <p:nvPicPr>
          <p:cNvPr id="9" name="Bilde 8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6749" y="217717"/>
            <a:ext cx="1354337" cy="385219"/>
          </a:xfrm>
          <a:prstGeom prst="rect">
            <a:avLst/>
          </a:prstGeom>
        </p:spPr>
      </p:pic>
      <p:sp>
        <p:nvSpPr>
          <p:cNvPr id="10" name="Rektangel 9"/>
          <p:cNvSpPr/>
          <p:nvPr/>
        </p:nvSpPr>
        <p:spPr>
          <a:xfrm>
            <a:off x="0" y="0"/>
            <a:ext cx="12192000" cy="7112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pic>
        <p:nvPicPr>
          <p:cNvPr id="12" name="Bilde 11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18400" y="219600"/>
            <a:ext cx="1353405" cy="385200"/>
          </a:xfrm>
          <a:prstGeom prst="rect">
            <a:avLst/>
          </a:prstGeom>
        </p:spPr>
      </p:pic>
      <p:sp>
        <p:nvSpPr>
          <p:cNvPr id="14" name="MSIPCMContentMarking" descr="{&quot;HashCode&quot;:-1464694281,&quot;Placement&quot;:&quot;Footer&quot;}">
            <a:extLst>
              <a:ext uri="{FF2B5EF4-FFF2-40B4-BE49-F238E27FC236}">
                <a16:creationId xmlns:a16="http://schemas.microsoft.com/office/drawing/2014/main" id="{40138F50-819F-4F05-B371-0F4BB66AFC8B}"/>
              </a:ext>
            </a:extLst>
          </p:cNvPr>
          <p:cNvSpPr txBox="1"/>
          <p:nvPr userDrawn="1"/>
        </p:nvSpPr>
        <p:spPr>
          <a:xfrm>
            <a:off x="0" y="6629836"/>
            <a:ext cx="1065206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nb-NO" sz="800">
                <a:solidFill>
                  <a:srgbClr val="000000"/>
                </a:solidFill>
                <a:latin typeface="Calibri" panose="020F0502020204030204" pitchFamily="34" charset="0"/>
              </a:rPr>
              <a:t>Classification: Open</a:t>
            </a:r>
          </a:p>
        </p:txBody>
      </p:sp>
    </p:spTree>
    <p:extLst>
      <p:ext uri="{BB962C8B-B14F-4D97-AF65-F5344CB8AC3E}">
        <p14:creationId xmlns:p14="http://schemas.microsoft.com/office/powerpoint/2010/main" val="3714177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lang="en-US" sz="2800" b="1" kern="1200" dirty="0">
          <a:solidFill>
            <a:schemeClr val="tx2"/>
          </a:solidFill>
          <a:latin typeface="Calibri" charset="0"/>
          <a:ea typeface="Calibri" charset="0"/>
          <a:cs typeface="Calibri" charset="0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lang="nb-NO" sz="2000" b="1" kern="1200" dirty="0" smtClean="0">
          <a:solidFill>
            <a:schemeClr val="accent5">
              <a:lumMod val="60000"/>
              <a:lumOff val="40000"/>
            </a:schemeClr>
          </a:solidFill>
          <a:latin typeface="Calibri" charset="0"/>
          <a:ea typeface="Calibri" charset="0"/>
          <a:cs typeface="Calibri" charset="0"/>
        </a:defRPr>
      </a:lvl1pPr>
      <a:lvl2pPr marL="566737" indent="-34290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nb-NO" sz="1800" kern="1200" dirty="0" smtClean="0">
          <a:solidFill>
            <a:schemeClr val="tx1"/>
          </a:solidFill>
          <a:latin typeface="Calibri" charset="0"/>
          <a:ea typeface="Calibri" charset="0"/>
          <a:cs typeface="Calibri" charset="0"/>
        </a:defRPr>
      </a:lvl2pPr>
      <a:lvl3pPr marL="920750" indent="-34290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nb-NO" sz="1800" kern="1200" dirty="0" smtClean="0">
          <a:solidFill>
            <a:schemeClr val="tx1"/>
          </a:solidFill>
          <a:latin typeface="Calibri" charset="0"/>
          <a:ea typeface="Calibri" charset="0"/>
          <a:cs typeface="Calibri" charset="0"/>
        </a:defRPr>
      </a:lvl3pPr>
      <a:lvl4pPr marL="1225550" indent="-28575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nb-NO" sz="1800" kern="1200" dirty="0" smtClean="0">
          <a:solidFill>
            <a:schemeClr val="tx1"/>
          </a:solidFill>
          <a:latin typeface="Calibri" charset="0"/>
          <a:ea typeface="Calibri" charset="0"/>
          <a:cs typeface="Calibri" charset="0"/>
        </a:defRPr>
      </a:lvl4pPr>
      <a:lvl5pPr marL="1492250" indent="-28575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800" kern="1200" dirty="0">
          <a:solidFill>
            <a:schemeClr val="tx1"/>
          </a:solidFill>
          <a:latin typeface="Calibri" charset="0"/>
          <a:ea typeface="Calibri" charset="0"/>
          <a:cs typeface="Calibri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8C08429-7863-CA46-AB97-B56F6F14F9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9007" y="1825625"/>
            <a:ext cx="1109398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7B79B83-0F8C-BB4F-AA85-9B32123943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900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003366"/>
                </a:solidFill>
                <a:latin typeface="Coop Grotesk" panose="020B0504030205020103" pitchFamily="34" charset="77"/>
              </a:defRPr>
            </a:lvl1pPr>
          </a:lstStyle>
          <a:p>
            <a:fld id="{FE74DAE8-1785-A843-A817-BB1257846E4A}" type="datetime1">
              <a:rPr lang="nb-NO" smtClean="0"/>
              <a:t>07.05.2021</a:t>
            </a:fld>
            <a:endParaRPr lang="nb-NO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671368B-C30D-444E-AEE9-61AED7906D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007" y="570084"/>
            <a:ext cx="11093985" cy="1129846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pic>
        <p:nvPicPr>
          <p:cNvPr id="7" name="Picture 5">
            <a:extLst>
              <a:ext uri="{FF2B5EF4-FFF2-40B4-BE49-F238E27FC236}">
                <a16:creationId xmlns:a16="http://schemas.microsoft.com/office/drawing/2014/main" id="{0DF84298-238C-054E-885E-DCF4FAD5CCF8}"/>
              </a:ext>
            </a:extLst>
          </p:cNvPr>
          <p:cNvPicPr>
            <a:picLocks noChangeAspect="1"/>
          </p:cNvPicPr>
          <p:nvPr userDrawn="1"/>
        </p:nvPicPr>
        <p:blipFill>
          <a:blip r:embed="rId23"/>
          <a:stretch>
            <a:fillRect/>
          </a:stretch>
        </p:blipFill>
        <p:spPr>
          <a:xfrm>
            <a:off x="10898658" y="6440567"/>
            <a:ext cx="744333" cy="211863"/>
          </a:xfrm>
          <a:prstGeom prst="rect">
            <a:avLst/>
          </a:prstGeom>
        </p:spPr>
      </p:pic>
      <p:sp>
        <p:nvSpPr>
          <p:cNvPr id="5" name="MSIPCMContentMarking" descr="{&quot;HashCode&quot;:-1464694281,&quot;Placement&quot;:&quot;Footer&quot;}">
            <a:extLst>
              <a:ext uri="{FF2B5EF4-FFF2-40B4-BE49-F238E27FC236}">
                <a16:creationId xmlns:a16="http://schemas.microsoft.com/office/drawing/2014/main" id="{5AE55C05-7AEE-4F83-BD2D-07E3AA4CC198}"/>
              </a:ext>
            </a:extLst>
          </p:cNvPr>
          <p:cNvSpPr txBox="1"/>
          <p:nvPr userDrawn="1"/>
        </p:nvSpPr>
        <p:spPr>
          <a:xfrm>
            <a:off x="0" y="6629836"/>
            <a:ext cx="1065206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nb-NO" sz="800">
                <a:solidFill>
                  <a:srgbClr val="000000"/>
                </a:solidFill>
                <a:latin typeface="Calibri" panose="020F0502020204030204" pitchFamily="34" charset="0"/>
              </a:rPr>
              <a:t>Classification: Open</a:t>
            </a:r>
          </a:p>
        </p:txBody>
      </p:sp>
    </p:spTree>
    <p:extLst>
      <p:ext uri="{BB962C8B-B14F-4D97-AF65-F5344CB8AC3E}">
        <p14:creationId xmlns:p14="http://schemas.microsoft.com/office/powerpoint/2010/main" val="13716007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  <p:sldLayoutId id="2147483715" r:id="rId9"/>
    <p:sldLayoutId id="2147483716" r:id="rId10"/>
    <p:sldLayoutId id="2147483717" r:id="rId11"/>
    <p:sldLayoutId id="2147483718" r:id="rId12"/>
    <p:sldLayoutId id="2147483719" r:id="rId13"/>
    <p:sldLayoutId id="2147483720" r:id="rId14"/>
    <p:sldLayoutId id="2147483721" r:id="rId15"/>
    <p:sldLayoutId id="2147483722" r:id="rId16"/>
    <p:sldLayoutId id="2147483723" r:id="rId17"/>
    <p:sldLayoutId id="2147483724" r:id="rId18"/>
    <p:sldLayoutId id="2147483725" r:id="rId19"/>
    <p:sldLayoutId id="2147483726" r:id="rId20"/>
    <p:sldLayoutId id="2147483727" r:id="rId21"/>
  </p:sldLayoutIdLst>
  <p:hf sldNum="0" hdr="0" ftr="0"/>
  <p:txStyles>
    <p:titleStyle>
      <a:lvl1pPr algn="l" defTabSz="914400" rtl="0" eaLnBrk="1" latinLnBrk="0" hangingPunct="1">
        <a:lnSpc>
          <a:spcPts val="4200"/>
        </a:lnSpc>
        <a:spcBef>
          <a:spcPct val="0"/>
        </a:spcBef>
        <a:buNone/>
        <a:defRPr sz="3800" b="1" i="0" kern="1200">
          <a:solidFill>
            <a:srgbClr val="003366"/>
          </a:solidFill>
          <a:latin typeface="Coop Grotesk" panose="020B0504030205020103" pitchFamily="34" charset="77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8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rgbClr val="003366"/>
          </a:solidFill>
          <a:latin typeface="Coop Grotesk" panose="020B0504030205020103" pitchFamily="34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200" kern="1200">
          <a:solidFill>
            <a:srgbClr val="003366"/>
          </a:solidFill>
          <a:latin typeface="Coop Grotesk" panose="020B0504030205020103" pitchFamily="34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03366"/>
          </a:solidFill>
          <a:latin typeface="Coop Grotesk" panose="020B0504030205020103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3366"/>
          </a:solidFill>
          <a:latin typeface="Coop Grotesk" panose="020B0504030205020103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3366"/>
          </a:solidFill>
          <a:latin typeface="Coop Grotesk" panose="020B0504030205020103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8C08429-7863-CA46-AB97-B56F6F14F9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9007" y="1825625"/>
            <a:ext cx="1109398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7B79B83-0F8C-BB4F-AA85-9B32123943B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900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003366"/>
                </a:solidFill>
                <a:latin typeface="Coop Grotesk" panose="020B0504030205020103" pitchFamily="34" charset="77"/>
              </a:defRPr>
            </a:lvl1pPr>
          </a:lstStyle>
          <a:p>
            <a:fld id="{FE74DAE8-1785-A843-A817-BB1257846E4A}" type="datetime1">
              <a:rPr lang="nb-NO" smtClean="0"/>
              <a:t>07.05.2021</a:t>
            </a:fld>
            <a:endParaRPr lang="nb-NO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671368B-C30D-444E-AEE9-61AED7906D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007" y="570084"/>
            <a:ext cx="11093985" cy="1129846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pic>
        <p:nvPicPr>
          <p:cNvPr id="7" name="Picture 5">
            <a:extLst>
              <a:ext uri="{FF2B5EF4-FFF2-40B4-BE49-F238E27FC236}">
                <a16:creationId xmlns:a16="http://schemas.microsoft.com/office/drawing/2014/main" id="{0DF84298-238C-054E-885E-DCF4FAD5CCF8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10898658" y="6440567"/>
            <a:ext cx="744333" cy="211863"/>
          </a:xfrm>
          <a:prstGeom prst="rect">
            <a:avLst/>
          </a:prstGeom>
        </p:spPr>
      </p:pic>
      <p:sp>
        <p:nvSpPr>
          <p:cNvPr id="5" name="MSIPCMContentMarking" descr="{&quot;HashCode&quot;:-1464694281,&quot;Placement&quot;:&quot;Footer&quot;}">
            <a:extLst>
              <a:ext uri="{FF2B5EF4-FFF2-40B4-BE49-F238E27FC236}">
                <a16:creationId xmlns:a16="http://schemas.microsoft.com/office/drawing/2014/main" id="{76DC2270-4755-4C1D-BAD4-1B6A5CFA1A24}"/>
              </a:ext>
            </a:extLst>
          </p:cNvPr>
          <p:cNvSpPr txBox="1"/>
          <p:nvPr userDrawn="1"/>
        </p:nvSpPr>
        <p:spPr>
          <a:xfrm>
            <a:off x="0" y="6629836"/>
            <a:ext cx="1065206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nb-NO" sz="800">
                <a:solidFill>
                  <a:srgbClr val="000000"/>
                </a:solidFill>
                <a:latin typeface="Calibri" panose="020F0502020204030204" pitchFamily="34" charset="0"/>
              </a:rPr>
              <a:t>Classification: Open</a:t>
            </a:r>
          </a:p>
        </p:txBody>
      </p:sp>
    </p:spTree>
    <p:extLst>
      <p:ext uri="{BB962C8B-B14F-4D97-AF65-F5344CB8AC3E}">
        <p14:creationId xmlns:p14="http://schemas.microsoft.com/office/powerpoint/2010/main" val="1343406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  <p:sldLayoutId id="2147483741" r:id="rId13"/>
    <p:sldLayoutId id="2147483742" r:id="rId14"/>
    <p:sldLayoutId id="2147483743" r:id="rId15"/>
    <p:sldLayoutId id="2147483744" r:id="rId16"/>
    <p:sldLayoutId id="2147483745" r:id="rId17"/>
  </p:sldLayoutIdLst>
  <p:hf sldNum="0" hdr="0" ftr="0"/>
  <p:txStyles>
    <p:titleStyle>
      <a:lvl1pPr algn="l" defTabSz="914400" rtl="0" eaLnBrk="1" latinLnBrk="0" hangingPunct="1">
        <a:lnSpc>
          <a:spcPts val="4200"/>
        </a:lnSpc>
        <a:spcBef>
          <a:spcPct val="0"/>
        </a:spcBef>
        <a:buNone/>
        <a:defRPr sz="3800" b="1" i="0" kern="1200">
          <a:solidFill>
            <a:srgbClr val="003366"/>
          </a:solidFill>
          <a:latin typeface="Coop Grotesk" panose="020B0504030205020103" pitchFamily="34" charset="77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800"/>
        </a:lnSpc>
        <a:spcBef>
          <a:spcPts val="1000"/>
        </a:spcBef>
        <a:buFont typeface="Arial" panose="020B0604020202020204" pitchFamily="34" charset="0"/>
        <a:buNone/>
        <a:defRPr sz="2400" kern="1200">
          <a:solidFill>
            <a:srgbClr val="003366"/>
          </a:solidFill>
          <a:latin typeface="Coop Grotesk" panose="020B0504030205020103" pitchFamily="34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200" kern="1200">
          <a:solidFill>
            <a:srgbClr val="003366"/>
          </a:solidFill>
          <a:latin typeface="Coop Grotesk" panose="020B0504030205020103" pitchFamily="34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03366"/>
          </a:solidFill>
          <a:latin typeface="Coop Grotesk" panose="020B0504030205020103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3366"/>
          </a:solidFill>
          <a:latin typeface="Coop Grotesk" panose="020B0504030205020103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003366"/>
          </a:solidFill>
          <a:latin typeface="Coop Grotesk" panose="020B0504030205020103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7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6.jpg"/><Relationship Id="rId5" Type="http://schemas.openxmlformats.org/officeDocument/2006/relationships/image" Target="../media/image15.png"/><Relationship Id="rId4" Type="http://schemas.openxmlformats.org/officeDocument/2006/relationships/image" Target="../media/image14.jp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emf"/><Relationship Id="rId1" Type="http://schemas.openxmlformats.org/officeDocument/2006/relationships/slideLayout" Target="../slideLayouts/slideLayout3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jp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26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30.jpg"/><Relationship Id="rId4" Type="http://schemas.openxmlformats.org/officeDocument/2006/relationships/image" Target="../media/image29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 descr="Et bilde som inneholder person, holder, mann, kvinne&#10;&#10;Automatisk generert beskrivelse">
            <a:extLst>
              <a:ext uri="{FF2B5EF4-FFF2-40B4-BE49-F238E27FC236}">
                <a16:creationId xmlns:a16="http://schemas.microsoft.com/office/drawing/2014/main" id="{1571A540-4B48-4555-B5BB-31428958E6F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208" r="24533"/>
          <a:stretch/>
        </p:blipFill>
        <p:spPr>
          <a:xfrm>
            <a:off x="-17720" y="-13104"/>
            <a:ext cx="4149044" cy="3231754"/>
          </a:xfrm>
          <a:prstGeom prst="rect">
            <a:avLst/>
          </a:prstGeom>
        </p:spPr>
      </p:pic>
      <p:pic>
        <p:nvPicPr>
          <p:cNvPr id="22" name="Bilde 21" descr="Et bilde som inneholder person, utendørs, kvinne, bord&#10;&#10;Automatisk generert beskrivelse">
            <a:extLst>
              <a:ext uri="{FF2B5EF4-FFF2-40B4-BE49-F238E27FC236}">
                <a16:creationId xmlns:a16="http://schemas.microsoft.com/office/drawing/2014/main" id="{2CDFAF1B-8EB5-49C9-9ABE-1FFF07A6C08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62" r="27565"/>
          <a:stretch/>
        </p:blipFill>
        <p:spPr>
          <a:xfrm>
            <a:off x="8682913" y="0"/>
            <a:ext cx="3661023" cy="6899243"/>
          </a:xfrm>
          <a:prstGeom prst="rect">
            <a:avLst/>
          </a:prstGeom>
        </p:spPr>
      </p:pic>
      <p:sp>
        <p:nvSpPr>
          <p:cNvPr id="4" name="Tittel 3"/>
          <p:cNvSpPr>
            <a:spLocks noGrp="1"/>
          </p:cNvSpPr>
          <p:nvPr>
            <p:ph type="ctrTitle"/>
          </p:nvPr>
        </p:nvSpPr>
        <p:spPr>
          <a:xfrm>
            <a:off x="1754598" y="4380925"/>
            <a:ext cx="6472991" cy="2387600"/>
          </a:xfrm>
        </p:spPr>
        <p:txBody>
          <a:bodyPr/>
          <a:lstStyle/>
          <a:p>
            <a:r>
              <a:rPr lang="nb-NO" sz="4800" dirty="0"/>
              <a:t>KICK OFF PRODUKSJONSPLANER</a:t>
            </a:r>
            <a:br>
              <a:rPr lang="nb-NO" sz="4800" dirty="0"/>
            </a:br>
            <a:r>
              <a:rPr lang="nb-NO" sz="4800" dirty="0"/>
              <a:t>2019/2020</a:t>
            </a:r>
          </a:p>
        </p:txBody>
      </p:sp>
      <p:pic>
        <p:nvPicPr>
          <p:cNvPr id="3" name="Bilde 2">
            <a:extLst>
              <a:ext uri="{FF2B5EF4-FFF2-40B4-BE49-F238E27FC236}">
                <a16:creationId xmlns:a16="http://schemas.microsoft.com/office/drawing/2014/main" id="{38500A56-95D4-4588-A845-2D83ED14308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31324" y="-291828"/>
            <a:ext cx="4551589" cy="3510478"/>
          </a:xfrm>
          <a:prstGeom prst="rect">
            <a:avLst/>
          </a:prstGeom>
        </p:spPr>
      </p:pic>
      <p:pic>
        <p:nvPicPr>
          <p:cNvPr id="13" name="Bilde 12" descr="Et bilde som inneholder utendørs, gress, lastebil, mann&#10;&#10;Automatisk generert beskrivelse">
            <a:extLst>
              <a:ext uri="{FF2B5EF4-FFF2-40B4-BE49-F238E27FC236}">
                <a16:creationId xmlns:a16="http://schemas.microsoft.com/office/drawing/2014/main" id="{6DE0A890-409E-4033-BAE5-D6D329704F2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4577" y="4044992"/>
            <a:ext cx="4399210" cy="2918167"/>
          </a:xfrm>
          <a:prstGeom prst="rect">
            <a:avLst/>
          </a:prstGeom>
        </p:spPr>
      </p:pic>
      <p:pic>
        <p:nvPicPr>
          <p:cNvPr id="15" name="Bilde 14" descr="Et bilde som inneholder utendørs, grønn, mann, kål&#10;&#10;Automatisk generert beskrivelse">
            <a:extLst>
              <a:ext uri="{FF2B5EF4-FFF2-40B4-BE49-F238E27FC236}">
                <a16:creationId xmlns:a16="http://schemas.microsoft.com/office/drawing/2014/main" id="{6F586D09-9ECA-471D-A557-D5AD5AE3F587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368" b="6638"/>
          <a:stretch/>
        </p:blipFill>
        <p:spPr>
          <a:xfrm>
            <a:off x="4285562" y="4020406"/>
            <a:ext cx="4397351" cy="2967340"/>
          </a:xfrm>
          <a:prstGeom prst="rect">
            <a:avLst/>
          </a:prstGeom>
        </p:spPr>
      </p:pic>
      <p:sp>
        <p:nvSpPr>
          <p:cNvPr id="16" name="Rectangle 4">
            <a:extLst>
              <a:ext uri="{FF2B5EF4-FFF2-40B4-BE49-F238E27FC236}">
                <a16:creationId xmlns:a16="http://schemas.microsoft.com/office/drawing/2014/main" id="{B60DAD22-EBE0-402A-97FE-163A8723B17F}"/>
              </a:ext>
            </a:extLst>
          </p:cNvPr>
          <p:cNvSpPr/>
          <p:nvPr/>
        </p:nvSpPr>
        <p:spPr>
          <a:xfrm>
            <a:off x="0" y="2974946"/>
            <a:ext cx="12192001" cy="1649683"/>
          </a:xfrm>
          <a:prstGeom prst="rect">
            <a:avLst/>
          </a:prstGeom>
          <a:solidFill>
            <a:srgbClr val="002060">
              <a:alpha val="7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457200" marR="0" lvl="1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3600" b="1" dirty="0">
                <a:solidFill>
                  <a:srgbClr val="FFFFFF"/>
                </a:solidFill>
                <a:latin typeface="Calibri" charset="0"/>
                <a:cs typeface="Calibri" charset="0"/>
              </a:rPr>
              <a:t>Velkommen til </a:t>
            </a:r>
          </a:p>
          <a:p>
            <a:pPr marL="457200" marR="0" lvl="1" indent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3600" b="1" dirty="0">
                <a:solidFill>
                  <a:srgbClr val="FFFFFF"/>
                </a:solidFill>
                <a:latin typeface="Calibri" charset="0"/>
                <a:cs typeface="Calibri" charset="0"/>
              </a:rPr>
              <a:t>Informasjonsmøte om ukentlige statusmøter i oppstart/avslutning av sesongene </a:t>
            </a:r>
            <a:endParaRPr kumimoji="0" lang="nb-NO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charset="0"/>
              <a:ea typeface="+mn-ea"/>
              <a:cs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7202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6F63ACB1-FD8D-4157-B275-4AE771DE46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1862A-D976-A740-ADCB-0272E0249D7F}" type="datetime1">
              <a:rPr lang="nb-NO" smtClean="0"/>
              <a:t>07.05.2021</a:t>
            </a:fld>
            <a:endParaRPr lang="nb-NO"/>
          </a:p>
        </p:txBody>
      </p:sp>
      <p:sp>
        <p:nvSpPr>
          <p:cNvPr id="3" name="Tittel 2">
            <a:extLst>
              <a:ext uri="{FF2B5EF4-FFF2-40B4-BE49-F238E27FC236}">
                <a16:creationId xmlns:a16="http://schemas.microsoft.com/office/drawing/2014/main" id="{97520D9C-940A-4FFA-B64E-0A711FB4BE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ortimentslegging av varer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6D52A815-39F0-462B-BC48-07494878056E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>
            <a:normAutofit/>
          </a:bodyPr>
          <a:lstStyle/>
          <a:p>
            <a:r>
              <a:rPr lang="nb-NO" dirty="0"/>
              <a:t>Vare er nødt til å være meldt inn i systemet før vi kan legge varen i sortiment. </a:t>
            </a:r>
          </a:p>
          <a:p>
            <a:r>
              <a:rPr lang="nb-NO" dirty="0"/>
              <a:t>Når vare er meldt inn legges den så i et planlagt butikksortiment </a:t>
            </a:r>
            <a:r>
              <a:rPr lang="nb-NO" b="1" dirty="0"/>
              <a:t>4 uker før</a:t>
            </a:r>
            <a:r>
              <a:rPr lang="nb-NO" dirty="0"/>
              <a:t> sortimentet har oppstart og varen blir aktiv i butikk. </a:t>
            </a:r>
          </a:p>
          <a:p>
            <a:r>
              <a:rPr lang="nb-NO" dirty="0"/>
              <a:t>Dette betyr at vi denne uken har sortimenslagt alle artikler som er planlagt inn for uke 19,20,21 og 22. </a:t>
            </a:r>
          </a:p>
          <a:p>
            <a:r>
              <a:rPr lang="nb-NO" dirty="0"/>
              <a:t>Siden vi har flere varelinjer både inn- og ut av sortiment hver eneste uke betyr dette i prinsippet av vi har nytt butikksortiment hver uke.</a:t>
            </a:r>
          </a:p>
          <a:p>
            <a:r>
              <a:rPr lang="nb-NO" dirty="0"/>
              <a:t>Hvis vi skal klare å holde oversikt og sikre gjennomføring er vi helt avhengig av å få riktig informasjon fra dere </a:t>
            </a:r>
            <a:r>
              <a:rPr lang="nb-NO" b="1" dirty="0"/>
              <a:t>så tidlig som overhodet mulig</a:t>
            </a:r>
            <a:r>
              <a:rPr lang="nb-NO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20068181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30FC3FC6-2FFC-4051-8253-44323D6720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1862A-D976-A740-ADCB-0272E0249D7F}" type="datetime1">
              <a:rPr lang="nb-NO" smtClean="0"/>
              <a:t>07.05.2021</a:t>
            </a:fld>
            <a:endParaRPr lang="nb-NO"/>
          </a:p>
        </p:txBody>
      </p:sp>
      <p:sp>
        <p:nvSpPr>
          <p:cNvPr id="3" name="Tittel 2">
            <a:extLst>
              <a:ext uri="{FF2B5EF4-FFF2-40B4-BE49-F238E27FC236}">
                <a16:creationId xmlns:a16="http://schemas.microsoft.com/office/drawing/2014/main" id="{20FE1F2A-3499-4824-830E-27A39262E9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Nytt innkjøpssystem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F2B67D24-0C04-4A97-9618-343039B41DC3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>
            <a:normAutofit/>
          </a:bodyPr>
          <a:lstStyle/>
          <a:p>
            <a:r>
              <a:rPr lang="nb-NO" dirty="0"/>
              <a:t>Vi har det siste året rullet ut et nytt innkjøpssystem.</a:t>
            </a:r>
          </a:p>
          <a:p>
            <a:r>
              <a:rPr lang="nb-NO" dirty="0"/>
              <a:t>Systemet gir oss bestillingsforslag på varelinjer fra forskjellige leverandører basert rekke kriterier. </a:t>
            </a:r>
          </a:p>
          <a:p>
            <a:endParaRPr lang="nb-NO" dirty="0"/>
          </a:p>
          <a:p>
            <a:r>
              <a:rPr lang="nb-NO" dirty="0"/>
              <a:t>En forutsetning for at innkjøpssystemet skal fungere er at vare er fullstendig meldt inn i systemet og lagt i et fremtidig aktivt sortiment i butikk. </a:t>
            </a:r>
          </a:p>
          <a:p>
            <a:endParaRPr lang="nb-NO" dirty="0"/>
          </a:p>
          <a:p>
            <a:r>
              <a:rPr lang="nb-NO" dirty="0"/>
              <a:t>Vare er derfor nødt til å være 100% meldt inn og klargjort i god tid i forkant for at systemet i det hele tatt skal kunne gi bestillingsforslag. </a:t>
            </a:r>
          </a:p>
          <a:p>
            <a:endParaRPr lang="nb-NO" dirty="0"/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925739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D4F4B4EB-F3B2-4DC3-AF38-E1FA545190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1862A-D976-A740-ADCB-0272E0249D7F}" type="datetime1">
              <a:rPr lang="nb-NO" smtClean="0"/>
              <a:t>07.05.2021</a:t>
            </a:fld>
            <a:endParaRPr lang="nb-NO"/>
          </a:p>
        </p:txBody>
      </p:sp>
      <p:sp>
        <p:nvSpPr>
          <p:cNvPr id="3" name="Tittel 2">
            <a:extLst>
              <a:ext uri="{FF2B5EF4-FFF2-40B4-BE49-F238E27FC236}">
                <a16:creationId xmlns:a16="http://schemas.microsoft.com/office/drawing/2014/main" id="{AA67335C-0CBC-47B1-B45F-2962982352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ampanje	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AD688CB6-9C9F-4E15-B892-0A1394DB11C1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nb-NO" dirty="0"/>
              <a:t>Kampanjevarer, informasjon og manus sendes til trykk senest 3 uker før kampanjestart. </a:t>
            </a:r>
          </a:p>
          <a:p>
            <a:endParaRPr lang="nb-NO" dirty="0"/>
          </a:p>
          <a:p>
            <a:r>
              <a:rPr lang="nb-NO" dirty="0"/>
              <a:t>Da må varene være registrert, meldt inn, sortimentslagt til butikk med mer, samme avhengighet som innkjøpssystemet. </a:t>
            </a:r>
          </a:p>
          <a:p>
            <a:endParaRPr lang="nb-NO" dirty="0"/>
          </a:p>
          <a:p>
            <a:r>
              <a:rPr lang="nb-NO" dirty="0"/>
              <a:t>Dette betyr at vi må ha sortimentslagt vare senest 4 uker i forkant som betyr at den må meldes inn senest i minus uke 5. </a:t>
            </a:r>
          </a:p>
          <a:p>
            <a:endParaRPr lang="nb-NO" dirty="0"/>
          </a:p>
          <a:p>
            <a:endParaRPr lang="nb-NO" dirty="0"/>
          </a:p>
          <a:p>
            <a:endParaRPr lang="nb-NO" dirty="0"/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901668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86AEBFB1-360D-40B1-BB6F-1518966A9A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1862A-D976-A740-ADCB-0272E0249D7F}" type="datetime1">
              <a:rPr lang="nb-NO" smtClean="0"/>
              <a:t>07.05.2021</a:t>
            </a:fld>
            <a:endParaRPr lang="nb-NO"/>
          </a:p>
        </p:txBody>
      </p:sp>
      <p:sp>
        <p:nvSpPr>
          <p:cNvPr id="3" name="Tittel 2">
            <a:extLst>
              <a:ext uri="{FF2B5EF4-FFF2-40B4-BE49-F238E27FC236}">
                <a16:creationId xmlns:a16="http://schemas.microsoft.com/office/drawing/2014/main" id="{5A61CA59-D92F-4620-A7BA-33F72C6494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Utfasing av artikler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C29D95F5-1A13-4C09-97E6-FF2DCBF27DC0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nb-NO" dirty="0"/>
              <a:t>På samme måte som innfasing er vi helt avhengige av tidlig informasjon om når vare skal fases ut av sortiment. </a:t>
            </a:r>
          </a:p>
          <a:p>
            <a:endParaRPr lang="nb-NO" dirty="0"/>
          </a:p>
          <a:p>
            <a:r>
              <a:rPr lang="nb-NO" dirty="0"/>
              <a:t>I en normalsituasjon er utfasingsprosessen en 10 dagers prosess fra vare legges inn i utfasingsskjema til vare faktisk forsvinner fra butikkens bestillingsportal. </a:t>
            </a:r>
          </a:p>
          <a:p>
            <a:endParaRPr lang="nb-NO" dirty="0"/>
          </a:p>
          <a:p>
            <a:r>
              <a:rPr lang="nb-NO" dirty="0"/>
              <a:t>Hver enkelt region vurderer i løpet av denne prosessen basert på rullering og varer på vei inn, hvorvidt de klarer å slutt-selge seg til planlagt ut-dato eller om region behøver én uke utvidet listing for å selge seg tomme. </a:t>
            </a:r>
          </a:p>
          <a:p>
            <a:endParaRPr lang="nb-NO" dirty="0"/>
          </a:p>
          <a:p>
            <a:endParaRPr lang="nb-NO" dirty="0"/>
          </a:p>
          <a:p>
            <a:endParaRPr lang="nb-NO" dirty="0"/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42000715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455F106D-DCA3-43A8-9432-22DB6C0899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1862A-D976-A740-ADCB-0272E0249D7F}" type="datetime1">
              <a:rPr lang="nb-NO" smtClean="0"/>
              <a:t>07.05.2021</a:t>
            </a:fld>
            <a:endParaRPr lang="nb-NO"/>
          </a:p>
        </p:txBody>
      </p:sp>
      <p:sp>
        <p:nvSpPr>
          <p:cNvPr id="3" name="Tittel 2">
            <a:extLst>
              <a:ext uri="{FF2B5EF4-FFF2-40B4-BE49-F238E27FC236}">
                <a16:creationId xmlns:a16="http://schemas.microsoft.com/office/drawing/2014/main" id="{993A365E-8A54-4011-A1B0-82C834F57DB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b-NO" dirty="0"/>
              <a:t>Oppsummering – hvorfor er vi nødt til å ha informasjonen så tidlig?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09C828A8-5FAF-4301-8FC5-181BC8693FB8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>
            <a:normAutofit fontScale="70000" lnSpcReduction="2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Vare må meldes inn og gjøres tilgjengelig for innkjøp for produktansvarlig og avrop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Vare må kunne simuleres gjennom en behovsplanlegging for å bestille        riktig volum til regionene til riktig tid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Varen må klargjøres for transport og logistikk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Vare må legges i et fremtidig aktiv sortiment for butikk, pris-kalkuleres gjennom alle ledd i organisasjonen, sikre riktig etikett-tekst i butikk og  på plakat med riktig opprinnelsesland, sørge for at alle forbrukerpakk </a:t>
            </a:r>
            <a:r>
              <a:rPr lang="nb-NO" dirty="0" err="1"/>
              <a:t>GTIN’er</a:t>
            </a:r>
            <a:r>
              <a:rPr lang="nb-NO" dirty="0"/>
              <a:t> er registrert og skanner til riktig pris i butikk mot forbruker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Kampanje er avhengig av tidlig informasjon og registrering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Varen må «</a:t>
            </a:r>
            <a:r>
              <a:rPr lang="nb-NO" dirty="0" err="1"/>
              <a:t>spaces</a:t>
            </a:r>
            <a:r>
              <a:rPr lang="nb-NO" dirty="0"/>
              <a:t>» inn i </a:t>
            </a:r>
            <a:r>
              <a:rPr lang="nb-NO" dirty="0" err="1"/>
              <a:t>planogram</a:t>
            </a:r>
            <a:r>
              <a:rPr lang="nb-NO" dirty="0"/>
              <a:t> slik at butikk har plass til vare når den kommer i sortiment.</a:t>
            </a:r>
          </a:p>
        </p:txBody>
      </p:sp>
    </p:spTree>
    <p:extLst>
      <p:ext uri="{BB962C8B-B14F-4D97-AF65-F5344CB8AC3E}">
        <p14:creationId xmlns:p14="http://schemas.microsoft.com/office/powerpoint/2010/main" val="408152346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8E0F3144-EB4D-4D0B-92A2-E757E587E8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1862A-D976-A740-ADCB-0272E0249D7F}" type="datetime1">
              <a:rPr lang="nb-NO" smtClean="0"/>
              <a:t>07.05.2021</a:t>
            </a:fld>
            <a:endParaRPr lang="nb-NO"/>
          </a:p>
        </p:txBody>
      </p:sp>
      <p:sp>
        <p:nvSpPr>
          <p:cNvPr id="3" name="Tittel 2">
            <a:extLst>
              <a:ext uri="{FF2B5EF4-FFF2-40B4-BE49-F238E27FC236}">
                <a16:creationId xmlns:a16="http://schemas.microsoft.com/office/drawing/2014/main" id="{079268C7-8542-477A-9C85-997C125B1A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3308" y="10885"/>
            <a:ext cx="11093985" cy="1129846"/>
          </a:xfrm>
        </p:spPr>
        <p:txBody>
          <a:bodyPr/>
          <a:lstStyle/>
          <a:p>
            <a:r>
              <a:rPr lang="nb-NO" dirty="0"/>
              <a:t>Agenda ukentlige statusmøter  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B3874EED-6461-420F-A632-AE56E4D8DC5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34707" y="1020535"/>
            <a:ext cx="11093984" cy="5542189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400" dirty="0"/>
              <a:t>Ukentlige møter </a:t>
            </a:r>
            <a:r>
              <a:rPr lang="nb-NO" sz="2400"/>
              <a:t>hver mandag</a:t>
            </a:r>
            <a:r>
              <a:rPr lang="nb-NO" sz="2400">
                <a:solidFill>
                  <a:srgbClr val="FF0000"/>
                </a:solidFill>
              </a:rPr>
              <a:t> </a:t>
            </a:r>
            <a:r>
              <a:rPr lang="nb-NO" sz="2400" b="1" u="sng" dirty="0">
                <a:solidFill>
                  <a:schemeClr val="tx1"/>
                </a:solidFill>
              </a:rPr>
              <a:t>NB! Møteplikt </a:t>
            </a:r>
          </a:p>
          <a:p>
            <a:pPr marL="1028700" lvl="1" indent="-342900"/>
            <a:r>
              <a:rPr lang="nb-NO" dirty="0">
                <a:solidFill>
                  <a:schemeClr val="tx1"/>
                </a:solidFill>
              </a:rPr>
              <a:t>GPS ansvarlige vil kunne innhente informasjon om volum i dette møtet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400" dirty="0"/>
              <a:t>Oppstart-/avslutningsuke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400" dirty="0"/>
              <a:t>Volum første uk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400" dirty="0"/>
              <a:t>Volum neste uk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400" dirty="0"/>
              <a:t>Varslede kampanjer (kommentar/bemerkninger til dette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400" dirty="0"/>
              <a:t>Andre innspill/relevant informasjon fra produsent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400" dirty="0"/>
              <a:t>Sesongen 2021 vil være krevende </a:t>
            </a:r>
            <a:r>
              <a:rPr lang="nb-NO" sz="2400" dirty="0" err="1"/>
              <a:t>mtp</a:t>
            </a:r>
            <a:r>
              <a:rPr lang="nb-NO" sz="2400" dirty="0"/>
              <a:t> arbeidskraft, og der det er behov så vil vi ha ukentlige møter gjennom hele sesongen. </a:t>
            </a:r>
            <a:r>
              <a:rPr lang="nb-NO" dirty="0"/>
              <a:t>Mens på andre kulturer er det kun nødvendig i ukene rundt oppstart og avslutning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400" dirty="0"/>
              <a:t>Respektive Produktsjef vil sende ut møteinnkall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Deltagere: produsenter, produktsjef og lokale innkjøpere</a:t>
            </a:r>
            <a:endParaRPr lang="nb-NO" sz="2400" dirty="0"/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87391171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A137BF63-6765-4236-A3EA-1FE4A676E6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87673A-F02C-AF4F-8E3C-674DE4778025}" type="datetime1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oop Grotesk" panose="020B0504030205020103" pitchFamily="34" charset="77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7.05.2021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003366"/>
              </a:solidFill>
              <a:effectLst/>
              <a:uLnTx/>
              <a:uFillTx/>
              <a:latin typeface="Coop Grotesk" panose="020B0504030205020103" pitchFamily="34" charset="77"/>
              <a:ea typeface="+mn-ea"/>
              <a:cs typeface="+mn-cs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A1B14385-391B-4B3A-BD02-232B4BB505F5}"/>
              </a:ext>
            </a:extLst>
          </p:cNvPr>
          <p:cNvSpPr txBox="1">
            <a:spLocks/>
          </p:cNvSpPr>
          <p:nvPr/>
        </p:nvSpPr>
        <p:spPr>
          <a:xfrm>
            <a:off x="617354" y="324929"/>
            <a:ext cx="10515600" cy="1112492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>
            <a:lvl1pPr algn="l" defTabSz="914400" rtl="0" eaLnBrk="1" latinLnBrk="0" hangingPunct="1">
              <a:lnSpc>
                <a:spcPts val="4200"/>
              </a:lnSpc>
              <a:spcBef>
                <a:spcPct val="0"/>
              </a:spcBef>
              <a:buNone/>
              <a:defRPr sz="3800" b="1" i="0" kern="1200">
                <a:solidFill>
                  <a:srgbClr val="003366"/>
                </a:solidFill>
                <a:latin typeface="Coop Grotesk" panose="020B0504030205020103" pitchFamily="34" charset="77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42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dirty="0"/>
              <a:t>Skjema for sesongmøtene</a:t>
            </a:r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9E783A4A-763E-44CD-9791-4DFD3B0F10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0309" y="1621253"/>
            <a:ext cx="10515601" cy="4675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68372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D9AC4F59-A345-4AF9-B06D-386EC2868D7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09877" y="6373284"/>
            <a:ext cx="2743200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3FF4E6-58C8-7F4B-9D69-F52DADEF37D9}" type="datetime1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oop Grotesk" panose="020B0504030205020103" pitchFamily="34" charset="77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7.05.2021</a:t>
            </a:fld>
            <a:endParaRPr kumimoji="0" lang="nb-NO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op Grotesk" panose="020B0504030205020103" pitchFamily="34" charset="77"/>
              <a:ea typeface="+mn-ea"/>
              <a:cs typeface="+mn-cs"/>
            </a:endParaRPr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F4CFA290-A7AD-4357-BC59-BEF2BCFCAE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0477" y="310444"/>
            <a:ext cx="11179324" cy="6062840"/>
          </a:xfrm>
          <a:prstGeom prst="rect">
            <a:avLst/>
          </a:prstGeom>
        </p:spPr>
      </p:pic>
      <p:sp>
        <p:nvSpPr>
          <p:cNvPr id="2" name="Rektangel 1">
            <a:extLst>
              <a:ext uri="{FF2B5EF4-FFF2-40B4-BE49-F238E27FC236}">
                <a16:creationId xmlns:a16="http://schemas.microsoft.com/office/drawing/2014/main" id="{2BA82B3F-F396-4DB1-908C-FC28A4524AE5}"/>
              </a:ext>
            </a:extLst>
          </p:cNvPr>
          <p:cNvSpPr/>
          <p:nvPr/>
        </p:nvSpPr>
        <p:spPr>
          <a:xfrm>
            <a:off x="709877" y="2763661"/>
            <a:ext cx="10701196" cy="11260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3600" b="1" dirty="0">
              <a:solidFill>
                <a:schemeClr val="tx2"/>
              </a:solidFill>
              <a:latin typeface="Calibri" charset="0"/>
              <a:cs typeface="Calibri" charset="0"/>
            </a:endParaRPr>
          </a:p>
          <a:p>
            <a:pPr algn="ctr"/>
            <a:r>
              <a:rPr lang="nb-NO" sz="3600" b="1" dirty="0">
                <a:solidFill>
                  <a:schemeClr val="tx2"/>
                </a:solidFill>
                <a:latin typeface="Calibri" charset="0"/>
                <a:cs typeface="Calibri" charset="0"/>
              </a:rPr>
              <a:t>God dialog i sesongen kan bidra til økt salg av </a:t>
            </a:r>
          </a:p>
          <a:p>
            <a:pPr algn="ctr"/>
            <a:r>
              <a:rPr lang="nb-NO" sz="3600" b="1" dirty="0">
                <a:solidFill>
                  <a:schemeClr val="tx2"/>
                </a:solidFill>
                <a:latin typeface="Calibri" charset="0"/>
                <a:cs typeface="Calibri" charset="0"/>
              </a:rPr>
              <a:t>norske grønnsaker </a:t>
            </a:r>
            <a:br>
              <a:rPr lang="nb-NO" sz="3600" b="1" dirty="0">
                <a:solidFill>
                  <a:schemeClr val="tx2"/>
                </a:solidFill>
                <a:latin typeface="Calibri" charset="0"/>
                <a:cs typeface="Calibri" charset="0"/>
              </a:rPr>
            </a:br>
            <a:endParaRPr lang="nb-NO" sz="3600" b="1" dirty="0">
              <a:solidFill>
                <a:schemeClr val="tx2"/>
              </a:solidFill>
              <a:latin typeface="Calibri" charset="0"/>
              <a:cs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600756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 descr="Et bilde som inneholder gress, utendørs, frukt, sitter&#10;&#10;Automatisk generert beskrivelse">
            <a:extLst>
              <a:ext uri="{FF2B5EF4-FFF2-40B4-BE49-F238E27FC236}">
                <a16:creationId xmlns:a16="http://schemas.microsoft.com/office/drawing/2014/main" id="{EE61D018-413C-4FD3-A109-AB86C5B01A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9217" y="708207"/>
            <a:ext cx="4643576" cy="3056164"/>
          </a:xfrm>
          <a:prstGeom prst="rect">
            <a:avLst/>
          </a:prstGeom>
        </p:spPr>
      </p:pic>
      <p:pic>
        <p:nvPicPr>
          <p:cNvPr id="10" name="Bilde 9">
            <a:extLst>
              <a:ext uri="{FF2B5EF4-FFF2-40B4-BE49-F238E27FC236}">
                <a16:creationId xmlns:a16="http://schemas.microsoft.com/office/drawing/2014/main" id="{564C7AF8-7AF5-4865-8E7E-7F6168F951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2419" y="3764371"/>
            <a:ext cx="2172293" cy="306954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Bilde 10">
            <a:extLst>
              <a:ext uri="{FF2B5EF4-FFF2-40B4-BE49-F238E27FC236}">
                <a16:creationId xmlns:a16="http://schemas.microsoft.com/office/drawing/2014/main" id="{BF6ABD28-3EE1-4EF4-AA6E-2A95CAA41CE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34680" y="708207"/>
            <a:ext cx="3470313" cy="3104303"/>
          </a:xfrm>
          <a:prstGeom prst="rect">
            <a:avLst/>
          </a:prstGeom>
        </p:spPr>
      </p:pic>
      <p:pic>
        <p:nvPicPr>
          <p:cNvPr id="12" name="Bilde 11" descr="Et bilde som inneholder bord, mat, elementer, kvinne&#10;&#10;Automatisk generert beskrivelse">
            <a:extLst>
              <a:ext uri="{FF2B5EF4-FFF2-40B4-BE49-F238E27FC236}">
                <a16:creationId xmlns:a16="http://schemas.microsoft.com/office/drawing/2014/main" id="{2A19EBCB-B4FE-43BE-A5AC-0C103B628E1F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682" b="24262"/>
          <a:stretch/>
        </p:blipFill>
        <p:spPr>
          <a:xfrm>
            <a:off x="2671004" y="3841489"/>
            <a:ext cx="2505269" cy="2992426"/>
          </a:xfrm>
          <a:prstGeom prst="rect">
            <a:avLst/>
          </a:prstGeom>
        </p:spPr>
      </p:pic>
      <p:pic>
        <p:nvPicPr>
          <p:cNvPr id="13" name="Bilde 12">
            <a:extLst>
              <a:ext uri="{FF2B5EF4-FFF2-40B4-BE49-F238E27FC236}">
                <a16:creationId xmlns:a16="http://schemas.microsoft.com/office/drawing/2014/main" id="{72806AB9-A85B-40C4-9AA7-0A6575D95D8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604993" y="631089"/>
            <a:ext cx="3434185" cy="5035519"/>
          </a:xfrm>
          <a:prstGeom prst="rect">
            <a:avLst/>
          </a:prstGeom>
        </p:spPr>
      </p:pic>
      <p:pic>
        <p:nvPicPr>
          <p:cNvPr id="14" name="Bilde 13">
            <a:extLst>
              <a:ext uri="{FF2B5EF4-FFF2-40B4-BE49-F238E27FC236}">
                <a16:creationId xmlns:a16="http://schemas.microsoft.com/office/drawing/2014/main" id="{4AF95A8E-4E38-4B60-BD1F-344DF71BE18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10272" y="3889628"/>
            <a:ext cx="5234289" cy="2944287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sp>
        <p:nvSpPr>
          <p:cNvPr id="16" name="TekstSylinder 15">
            <a:extLst>
              <a:ext uri="{FF2B5EF4-FFF2-40B4-BE49-F238E27FC236}">
                <a16:creationId xmlns:a16="http://schemas.microsoft.com/office/drawing/2014/main" id="{1BB500B4-0B02-4F0A-B7E4-72F2A8FA5B64}"/>
              </a:ext>
            </a:extLst>
          </p:cNvPr>
          <p:cNvSpPr txBox="1"/>
          <p:nvPr/>
        </p:nvSpPr>
        <p:spPr>
          <a:xfrm>
            <a:off x="266700" y="56675"/>
            <a:ext cx="12017682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nb-NO" sz="3200" b="1" i="0" u="none" strike="noStrike" kern="1200" cap="none" spc="0" normalizeH="0" baseline="0" noProof="0" dirty="0">
                <a:ln>
                  <a:noFill/>
                </a:ln>
                <a:solidFill>
                  <a:srgbClr val="00346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op har alltid vært sterke på norsk og vil fortsette fokuset … </a:t>
            </a:r>
          </a:p>
        </p:txBody>
      </p:sp>
    </p:spTree>
    <p:extLst>
      <p:ext uri="{BB962C8B-B14F-4D97-AF65-F5344CB8AC3E}">
        <p14:creationId xmlns:p14="http://schemas.microsoft.com/office/powerpoint/2010/main" val="7178537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AFBF0624-6933-4F67-B35E-6D632A1311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49007" y="6356350"/>
            <a:ext cx="2743200" cy="365125"/>
          </a:xfrm>
        </p:spPr>
        <p:txBody>
          <a:bodyPr anchor="ctr">
            <a:normAutofit/>
          </a:bodyPr>
          <a:lstStyle/>
          <a:p>
            <a:pPr marL="0" marR="0" lvl="0" indent="0" defTabSz="914400" rtl="0" eaLnBrk="1" fontAlgn="auto" latinLnBrk="0" hangingPunct="1"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811D6F9B-2C53-6D44-BBBB-F1674FD9A560}" type="datetime1">
              <a:rPr kumimoji="0" lang="nb-NO" b="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L="0" marR="0" lvl="0" indent="0" defTabSz="914400" rtl="0" eaLnBrk="1" fontAlgn="auto" latinLnBrk="0" hangingPunct="1"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07.05.2021</a:t>
            </a:fld>
            <a:endParaRPr kumimoji="0" lang="nb-NO" b="0" i="0" u="none" strike="noStrike" kern="1200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71" name="Title 2">
            <a:extLst>
              <a:ext uri="{FF2B5EF4-FFF2-40B4-BE49-F238E27FC236}">
                <a16:creationId xmlns:a16="http://schemas.microsoft.com/office/drawing/2014/main" id="{32DE04DF-B3F0-4C0F-84FB-DF4509266A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5262" y="420859"/>
            <a:ext cx="11801475" cy="1129846"/>
          </a:xfrm>
        </p:spPr>
        <p:txBody>
          <a:bodyPr>
            <a:normAutofit/>
          </a:bodyPr>
          <a:lstStyle/>
          <a:p>
            <a:pPr algn="ctr"/>
            <a:r>
              <a:rPr lang="en-US" dirty="0"/>
              <a:t>Da er det </a:t>
            </a:r>
            <a:r>
              <a:rPr lang="en-US" dirty="0" err="1"/>
              <a:t>kritisk</a:t>
            </a:r>
            <a:r>
              <a:rPr lang="en-US" dirty="0"/>
              <a:t> at </a:t>
            </a:r>
            <a:r>
              <a:rPr lang="en-US" dirty="0" err="1"/>
              <a:t>varer</a:t>
            </a:r>
            <a:r>
              <a:rPr lang="en-US" dirty="0"/>
              <a:t> er i </a:t>
            </a:r>
            <a:r>
              <a:rPr lang="en-US" dirty="0" err="1"/>
              <a:t>posisjon</a:t>
            </a:r>
            <a:r>
              <a:rPr lang="en-US" dirty="0"/>
              <a:t>!</a:t>
            </a:r>
            <a:br>
              <a:rPr lang="en-US" dirty="0"/>
            </a:br>
            <a:r>
              <a:rPr lang="en-US" sz="2400" dirty="0"/>
              <a:t>Kunden </a:t>
            </a:r>
            <a:r>
              <a:rPr lang="en-US" sz="2400" dirty="0" err="1"/>
              <a:t>forventer</a:t>
            </a:r>
            <a:r>
              <a:rPr lang="en-US" sz="2400" dirty="0"/>
              <a:t> å </a:t>
            </a:r>
            <a:r>
              <a:rPr lang="en-US" sz="2400" dirty="0" err="1"/>
              <a:t>finne</a:t>
            </a:r>
            <a:r>
              <a:rPr lang="en-US" sz="2400" dirty="0"/>
              <a:t> </a:t>
            </a:r>
            <a:r>
              <a:rPr lang="en-US" sz="2400" dirty="0" err="1"/>
              <a:t>varer</a:t>
            </a:r>
            <a:r>
              <a:rPr lang="en-US" sz="2400" dirty="0"/>
              <a:t> </a:t>
            </a:r>
            <a:r>
              <a:rPr lang="en-US" sz="2400" dirty="0" err="1"/>
              <a:t>uavhengig</a:t>
            </a:r>
            <a:r>
              <a:rPr lang="en-US" sz="2400" dirty="0"/>
              <a:t> av </a:t>
            </a:r>
            <a:r>
              <a:rPr lang="en-US" sz="2400" dirty="0" err="1"/>
              <a:t>opprinnelse</a:t>
            </a:r>
            <a:r>
              <a:rPr lang="en-US" sz="2400" dirty="0"/>
              <a:t> </a:t>
            </a:r>
            <a:endParaRPr lang="en-US" dirty="0"/>
          </a:p>
        </p:txBody>
      </p:sp>
      <p:pic>
        <p:nvPicPr>
          <p:cNvPr id="1026" name="Picture 2" descr="Can't get no satisfaction | Feature | Research Live">
            <a:extLst>
              <a:ext uri="{FF2B5EF4-FFF2-40B4-BE49-F238E27FC236}">
                <a16:creationId xmlns:a16="http://schemas.microsoft.com/office/drawing/2014/main" id="{FC35BE56-90B4-4721-91DC-2589CE7065F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54" r="19616" b="-1"/>
          <a:stretch/>
        </p:blipFill>
        <p:spPr bwMode="auto">
          <a:xfrm>
            <a:off x="625207" y="1825624"/>
            <a:ext cx="4160992" cy="4351338"/>
          </a:xfrm>
          <a:prstGeom prst="rect">
            <a:avLst/>
          </a:prstGeom>
          <a:solidFill>
            <a:srgbClr val="FFFFFF"/>
          </a:solidFill>
        </p:spPr>
      </p:pic>
      <p:pic>
        <p:nvPicPr>
          <p:cNvPr id="7" name="Picture 2" descr="Et bilde som inneholder tekst, innendørs, markedsplass&#10;&#10;Automatisk generert beskrivelse">
            <a:extLst>
              <a:ext uri="{FF2B5EF4-FFF2-40B4-BE49-F238E27FC236}">
                <a16:creationId xmlns:a16="http://schemas.microsoft.com/office/drawing/2014/main" id="{FDE14D69-8301-4557-8454-383DAC7AA40F}"/>
              </a:ext>
            </a:extLst>
          </p:cNvPr>
          <p:cNvPicPr>
            <a:picLocks noGrp="1" noChangeAspect="1" noChangeArrowheads="1"/>
          </p:cNvPicPr>
          <p:nvPr>
            <p:ph sz="quarter" idx="12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92" r="3" b="3"/>
          <a:stretch/>
        </p:blipFill>
        <p:spPr bwMode="auto">
          <a:xfrm>
            <a:off x="5172598" y="1825624"/>
            <a:ext cx="6467401" cy="435133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976069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4" name="Bilde 3"/>
          <p:cNvPicPr>
            <a:picLocks noChangeAspect="1"/>
          </p:cNvPicPr>
          <p:nvPr/>
        </p:nvPicPr>
        <p:blipFill rotWithShape="1">
          <a:blip r:embed="rId3"/>
          <a:srcRect t="9889" b="-1114"/>
          <a:stretch/>
        </p:blipFill>
        <p:spPr>
          <a:xfrm>
            <a:off x="-105069" y="-21266"/>
            <a:ext cx="12479028" cy="6964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58547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e 9" descr="Et bilde som inneholder person, mat, kake, bord&#10;&#10;Automatisk generert beskrivelse">
            <a:extLst>
              <a:ext uri="{FF2B5EF4-FFF2-40B4-BE49-F238E27FC236}">
                <a16:creationId xmlns:a16="http://schemas.microsoft.com/office/drawing/2014/main" id="{F214EC23-C076-4BC8-B107-07B6E159CA1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726" r="31487"/>
          <a:stretch/>
        </p:blipFill>
        <p:spPr>
          <a:xfrm>
            <a:off x="4027270" y="2203915"/>
            <a:ext cx="4352695" cy="321054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4" name="Bilde 13" descr="Et bilde som inneholder person, innendørs, mat, bord&#10;&#10;Automatisk generert beskrivelse">
            <a:extLst>
              <a:ext uri="{FF2B5EF4-FFF2-40B4-BE49-F238E27FC236}">
                <a16:creationId xmlns:a16="http://schemas.microsoft.com/office/drawing/2014/main" id="{F240C28A-F43C-4B23-8BF2-B449B760515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07434" y="2203914"/>
            <a:ext cx="4491260" cy="321054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6" name="Title 2">
            <a:extLst>
              <a:ext uri="{FF2B5EF4-FFF2-40B4-BE49-F238E27FC236}">
                <a16:creationId xmlns:a16="http://schemas.microsoft.com/office/drawing/2014/main" id="{9A068DAC-AFB6-4DBF-A9B1-B71DCE5541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9275" y="569913"/>
            <a:ext cx="11093450" cy="1130300"/>
          </a:xfrm>
        </p:spPr>
        <p:txBody>
          <a:bodyPr>
            <a:normAutofit fontScale="90000"/>
          </a:bodyPr>
          <a:lstStyle/>
          <a:p>
            <a:r>
              <a:rPr lang="en-US" dirty="0" err="1"/>
              <a:t>Samspillet</a:t>
            </a:r>
            <a:r>
              <a:rPr lang="en-US" dirty="0"/>
              <a:t> fra </a:t>
            </a:r>
            <a:r>
              <a:rPr lang="en-US" dirty="0" err="1"/>
              <a:t>jord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bord er </a:t>
            </a:r>
            <a:r>
              <a:rPr lang="en-US" dirty="0" err="1"/>
              <a:t>nøkkelen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en-US" dirty="0" err="1"/>
              <a:t>suksess</a:t>
            </a:r>
            <a:endParaRPr lang="en-US" dirty="0"/>
          </a:p>
        </p:txBody>
      </p:sp>
      <p:pic>
        <p:nvPicPr>
          <p:cNvPr id="19" name="Bilde 18" descr="Et bilde som inneholder utendørs, person, mann, gjerde&#10;&#10;Automatisk generert beskrivelse">
            <a:extLst>
              <a:ext uri="{FF2B5EF4-FFF2-40B4-BE49-F238E27FC236}">
                <a16:creationId xmlns:a16="http://schemas.microsoft.com/office/drawing/2014/main" id="{600E2105-338F-4215-B9D4-75B305198C2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389706" y="2203914"/>
            <a:ext cx="4280731" cy="321054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13631412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AFBF0624-6933-4F67-B35E-6D632A1311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1D6F9B-2C53-6D44-BBBB-F1674FD9A560}" type="datetime1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oop Grotesk" panose="020B0504030205020103" pitchFamily="34" charset="77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7.05.2021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003366"/>
              </a:solidFill>
              <a:effectLst/>
              <a:uLnTx/>
              <a:uFillTx/>
              <a:latin typeface="Coop Grotesk" panose="020B0504030205020103" pitchFamily="34" charset="77"/>
              <a:ea typeface="+mn-ea"/>
              <a:cs typeface="+mn-cs"/>
            </a:endParaRP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6612D896-43D8-4B16-9BED-55FB8B362763}"/>
              </a:ext>
            </a:extLst>
          </p:cNvPr>
          <p:cNvSpPr txBox="1">
            <a:spLocks/>
          </p:cNvSpPr>
          <p:nvPr/>
        </p:nvSpPr>
        <p:spPr>
          <a:xfrm>
            <a:off x="2443343" y="1673099"/>
            <a:ext cx="7046748" cy="20607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ts val="28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0" kern="1200">
                <a:solidFill>
                  <a:srgbClr val="003366"/>
                </a:solidFill>
                <a:latin typeface="Coop Grotesk" panose="020B0504030205020103" pitchFamily="34" charset="77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ts val="32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200" kern="1200">
                <a:solidFill>
                  <a:srgbClr val="003366"/>
                </a:solidFill>
                <a:latin typeface="Coop Grotesk" panose="020B0504030205020103" pitchFamily="34" charset="77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3366"/>
                </a:solidFill>
                <a:latin typeface="Coop Grotesk" panose="020B0504030205020103" pitchFamily="34" charset="77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3366"/>
                </a:solidFill>
                <a:latin typeface="Coop Grotesk" panose="020B0504030205020103" pitchFamily="34" charset="77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rgbClr val="003366"/>
                </a:solidFill>
                <a:latin typeface="Coop Grotesk" panose="020B0504030205020103" pitchFamily="34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oop Grotesk" panose="020B0504030205020103" pitchFamily="34" charset="77"/>
                <a:ea typeface="+mn-ea"/>
                <a:cs typeface="+mn-cs"/>
              </a:rPr>
              <a:t>Avhengig av </a:t>
            </a:r>
            <a:r>
              <a:rPr kumimoji="0" lang="nb-NO" sz="20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oop Grotesk" panose="020B0504030205020103" pitchFamily="34" charset="77"/>
                <a:ea typeface="+mn-ea"/>
                <a:cs typeface="+mn-cs"/>
              </a:rPr>
              <a:t>presis informasjon</a:t>
            </a: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oop Grotesk" panose="020B0504030205020103" pitchFamily="34" charset="77"/>
                <a:ea typeface="+mn-ea"/>
                <a:cs typeface="+mn-cs"/>
              </a:rPr>
              <a:t>, spesielt i oppstart og avslutning av sesong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nb-NO" sz="20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oop Grotesk" panose="020B0504030205020103" pitchFamily="34" charset="77"/>
                <a:ea typeface="+mn-ea"/>
                <a:cs typeface="+mn-cs"/>
              </a:rPr>
              <a:t>Avvik fra plan må kommuniseres </a:t>
            </a:r>
            <a:r>
              <a:rPr kumimoji="0" lang="nb-NO" sz="2000" b="0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oop Grotesk" panose="020B0504030205020103" pitchFamily="34" charset="77"/>
                <a:ea typeface="+mn-ea"/>
                <a:cs typeface="+mn-cs"/>
              </a:rPr>
              <a:t>så tidlig som mulig – både når det er mye og lite!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nb-NO" sz="2000" b="0" i="0" u="none" strike="noStrike" kern="1200" cap="none" spc="0" normalizeH="0" baseline="0" noProof="0" dirty="0">
              <a:ln>
                <a:noFill/>
              </a:ln>
              <a:solidFill>
                <a:srgbClr val="003366"/>
              </a:solidFill>
              <a:effectLst/>
              <a:uLnTx/>
              <a:uFillTx/>
              <a:latin typeface="Coop Grotesk" panose="020B0504030205020103" pitchFamily="34" charset="77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nb-NO" sz="2000" b="0" i="0" u="none" strike="noStrike" kern="1200" cap="none" spc="0" normalizeH="0" baseline="0" noProof="0" dirty="0">
              <a:ln>
                <a:noFill/>
              </a:ln>
              <a:solidFill>
                <a:srgbClr val="003366"/>
              </a:solidFill>
              <a:effectLst/>
              <a:uLnTx/>
              <a:uFillTx/>
              <a:latin typeface="Coop Grotesk" panose="020B0504030205020103" pitchFamily="34" charset="77"/>
              <a:ea typeface="+mn-ea"/>
              <a:cs typeface="+mn-cs"/>
            </a:endParaRPr>
          </a:p>
        </p:txBody>
      </p:sp>
      <p:sp>
        <p:nvSpPr>
          <p:cNvPr id="9" name="Tittel 2">
            <a:extLst>
              <a:ext uri="{FF2B5EF4-FFF2-40B4-BE49-F238E27FC236}">
                <a16:creationId xmlns:a16="http://schemas.microsoft.com/office/drawing/2014/main" id="{20D039E5-7D3B-42DD-9FD2-6CBB9C06C014}"/>
              </a:ext>
            </a:extLst>
          </p:cNvPr>
          <p:cNvSpPr txBox="1">
            <a:spLocks/>
          </p:cNvSpPr>
          <p:nvPr/>
        </p:nvSpPr>
        <p:spPr>
          <a:xfrm>
            <a:off x="626051" y="221433"/>
            <a:ext cx="11437047" cy="1076154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 fontScale="90000"/>
          </a:bodyPr>
          <a:lstStyle>
            <a:lvl1pPr algn="l" defTabSz="914400" rtl="0" eaLnBrk="1" latinLnBrk="0" hangingPunct="1">
              <a:lnSpc>
                <a:spcPts val="4200"/>
              </a:lnSpc>
              <a:spcBef>
                <a:spcPct val="0"/>
              </a:spcBef>
              <a:buNone/>
              <a:defRPr sz="3800" b="1" i="0" kern="1200">
                <a:solidFill>
                  <a:srgbClr val="003366"/>
                </a:solidFill>
                <a:latin typeface="Coop Grotesk" panose="020B0504030205020103" pitchFamily="34" charset="77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2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oop Grotesk" panose="020B0504030205020103" pitchFamily="34" charset="77"/>
                <a:ea typeface="+mj-ea"/>
                <a:cs typeface="+mj-cs"/>
              </a:rPr>
              <a:t>Potensiale for økt salg av norsk ved god timing av sesongene</a:t>
            </a:r>
            <a:br>
              <a:rPr kumimoji="0" lang="nb-NO" sz="3200" b="1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oop Grotesk" panose="020B0504030205020103" pitchFamily="34" charset="77"/>
                <a:ea typeface="+mj-ea"/>
                <a:cs typeface="+mj-cs"/>
              </a:rPr>
            </a:br>
            <a:r>
              <a:rPr kumimoji="0" lang="nb-NO" sz="3200" b="0" i="0" u="none" strike="noStrike" kern="1200" cap="none" spc="0" normalizeH="0" baseline="0" noProof="0" dirty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Coop Grotesk" panose="020B0504030205020103" pitchFamily="34" charset="77"/>
                <a:ea typeface="+mj-ea"/>
                <a:cs typeface="+mj-cs"/>
              </a:rPr>
              <a:t>- Etablerer ukentlige møter for bedre dialog 2021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17ABD532-DC04-4FA5-9E01-16206FC624E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55"/>
          <a:stretch/>
        </p:blipFill>
        <p:spPr bwMode="auto">
          <a:xfrm>
            <a:off x="-1" y="4017770"/>
            <a:ext cx="12192000" cy="48531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DCF8F2CB-32F2-4738-A4DF-ED9CBD2AF677}"/>
              </a:ext>
            </a:extLst>
          </p:cNvPr>
          <p:cNvSpPr/>
          <p:nvPr/>
        </p:nvSpPr>
        <p:spPr>
          <a:xfrm>
            <a:off x="2139518" y="1447060"/>
            <a:ext cx="7448365" cy="218910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373240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9E1002A-4291-CA4A-A2AC-9F30F193D80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dirty="0"/>
              <a:t>Inn- og utfasing av varer og sortimentslegging i COOP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13D02903-D997-B64F-9E4E-36EF309B185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9007" y="2880000"/>
            <a:ext cx="11095199" cy="3008736"/>
          </a:xfrm>
        </p:spPr>
        <p:txBody>
          <a:bodyPr>
            <a:normAutofit/>
          </a:bodyPr>
          <a:lstStyle/>
          <a:p>
            <a:r>
              <a:rPr lang="nb-NO" dirty="0"/>
              <a:t>Innmelding av varer i systemet</a:t>
            </a:r>
          </a:p>
          <a:p>
            <a:r>
              <a:rPr lang="nb-NO" dirty="0"/>
              <a:t>Sortimentslegging av varer</a:t>
            </a:r>
          </a:p>
          <a:p>
            <a:r>
              <a:rPr lang="nb-NO" dirty="0"/>
              <a:t>Nytt innkjøpssystem</a:t>
            </a:r>
          </a:p>
          <a:p>
            <a:r>
              <a:rPr lang="nb-NO" dirty="0"/>
              <a:t>Kampanje</a:t>
            </a:r>
          </a:p>
          <a:p>
            <a:r>
              <a:rPr lang="nb-NO" dirty="0"/>
              <a:t>Utfasing</a:t>
            </a:r>
          </a:p>
          <a:p>
            <a:r>
              <a:rPr lang="nb-NO" dirty="0"/>
              <a:t>Oppsummering</a:t>
            </a:r>
          </a:p>
          <a:p>
            <a:endParaRPr lang="nb-NO" dirty="0"/>
          </a:p>
          <a:p>
            <a:endParaRPr lang="nb-NO" dirty="0"/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6898089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BFAE036D-2755-8B41-9CA4-980B3518BF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01862A-D976-A740-ADCB-0272E0249D7F}" type="datetime1">
              <a:rPr lang="nb-NO" smtClean="0"/>
              <a:t>07.05.2021</a:t>
            </a:fld>
            <a:endParaRPr lang="nb-NO"/>
          </a:p>
        </p:txBody>
      </p:sp>
      <p:sp>
        <p:nvSpPr>
          <p:cNvPr id="3" name="Tittel 2">
            <a:extLst>
              <a:ext uri="{FF2B5EF4-FFF2-40B4-BE49-F238E27FC236}">
                <a16:creationId xmlns:a16="http://schemas.microsoft.com/office/drawing/2014/main" id="{88D1B5FD-FD3E-574F-AA68-7802630EC1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Melde inn varer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9C60AE4D-99E7-1047-AD86-67556AC79613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>
            <a:normAutofit/>
          </a:bodyPr>
          <a:lstStyle/>
          <a:p>
            <a:r>
              <a:rPr lang="nb-NO" dirty="0"/>
              <a:t>Vi melder inn varer i vårt sentrale system mellom </a:t>
            </a:r>
            <a:r>
              <a:rPr lang="nb-NO" b="1" dirty="0"/>
              <a:t>5 og 6 uker </a:t>
            </a:r>
            <a:r>
              <a:rPr lang="nb-NO" dirty="0"/>
              <a:t>før vare skal være aktiv i butikkens sortiment. </a:t>
            </a:r>
          </a:p>
          <a:p>
            <a:endParaRPr lang="nb-NO" dirty="0"/>
          </a:p>
          <a:p>
            <a:r>
              <a:rPr lang="nb-NO" dirty="0"/>
              <a:t>Det er flere prosesser og rutiner i COOP som går på tvers av varegrupper hvor det stilles klare krav til Frukt og Grønt om å ha registrert inn riktig informasjon i systemet til riktig tid. </a:t>
            </a:r>
          </a:p>
          <a:p>
            <a:r>
              <a:rPr lang="nb-NO" dirty="0"/>
              <a:t>Dette er vi helt avhengig av for å kunne dra nytte av systemstøtten vi har internt.</a:t>
            </a:r>
          </a:p>
          <a:p>
            <a:r>
              <a:rPr lang="nb-NO" dirty="0"/>
              <a:t>Målet er å sikre at absolutt </a:t>
            </a:r>
            <a:r>
              <a:rPr lang="nb-NO" u="sng" dirty="0"/>
              <a:t>alt</a:t>
            </a:r>
            <a:r>
              <a:rPr lang="nb-NO" dirty="0"/>
              <a:t> er på plass </a:t>
            </a:r>
            <a:r>
              <a:rPr lang="nb-NO" u="sng" dirty="0"/>
              <a:t>før</a:t>
            </a:r>
            <a:r>
              <a:rPr lang="nb-NO" dirty="0"/>
              <a:t> vare treffer butikk. </a:t>
            </a:r>
          </a:p>
          <a:p>
            <a:endParaRPr lang="nb-NO" dirty="0"/>
          </a:p>
          <a:p>
            <a:endParaRPr lang="nb-NO" dirty="0"/>
          </a:p>
          <a:p>
            <a:endParaRPr lang="nb-NO" dirty="0"/>
          </a:p>
          <a:p>
            <a:endParaRPr lang="nb-NO" dirty="0"/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416377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4FzRyApq93_veqOsQT6s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op prosjekt Ny 2017">
  <a:themeElements>
    <a:clrScheme name="Egendefinert 26">
      <a:dk1>
        <a:srgbClr val="000000"/>
      </a:dk1>
      <a:lt1>
        <a:srgbClr val="FFFFFF"/>
      </a:lt1>
      <a:dk2>
        <a:srgbClr val="003366"/>
      </a:dk2>
      <a:lt2>
        <a:srgbClr val="E7E6E6"/>
      </a:lt2>
      <a:accent1>
        <a:srgbClr val="003366"/>
      </a:accent1>
      <a:accent2>
        <a:srgbClr val="79A2B3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-tema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op, blå stripe.potx" id="{0E9E97C4-C570-4710-979F-4C0E873D3576}" vid="{4AFE0928-3A85-4949-8A3F-B9B047F6730C}"/>
    </a:ext>
  </a:extLst>
</a:theme>
</file>

<file path=ppt/theme/theme2.xml><?xml version="1.0" encoding="utf-8"?>
<a:theme xmlns:a="http://schemas.openxmlformats.org/drawingml/2006/main" name="Coopmal Positiv">
  <a:themeElements>
    <a:clrScheme name="Coop">
      <a:dk1>
        <a:srgbClr val="003467"/>
      </a:dk1>
      <a:lt1>
        <a:srgbClr val="FFFFFF"/>
      </a:lt1>
      <a:dk2>
        <a:srgbClr val="003467"/>
      </a:dk2>
      <a:lt2>
        <a:srgbClr val="F3F3F0"/>
      </a:lt2>
      <a:accent1>
        <a:srgbClr val="003467"/>
      </a:accent1>
      <a:accent2>
        <a:srgbClr val="3755FF"/>
      </a:accent2>
      <a:accent3>
        <a:srgbClr val="44AFFF"/>
      </a:accent3>
      <a:accent4>
        <a:srgbClr val="DCF0FA"/>
      </a:accent4>
      <a:accent5>
        <a:srgbClr val="CCCCCC"/>
      </a:accent5>
      <a:accent6>
        <a:srgbClr val="E6E6FF"/>
      </a:accent6>
      <a:hlink>
        <a:srgbClr val="0563C1"/>
      </a:hlink>
      <a:folHlink>
        <a:srgbClr val="954F72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mal ny visuell identitet.pptx" id="{B24ACC4B-22ED-024E-B6AF-BE66B4C24084}" vid="{CB63BEB6-8F7B-2740-83D4-953927216A49}"/>
    </a:ext>
  </a:extLst>
</a:theme>
</file>

<file path=ppt/theme/theme3.xml><?xml version="1.0" encoding="utf-8"?>
<a:theme xmlns:a="http://schemas.openxmlformats.org/drawingml/2006/main" name="1_Coopmal Positiv">
  <a:themeElements>
    <a:clrScheme name="Coop">
      <a:dk1>
        <a:srgbClr val="003467"/>
      </a:dk1>
      <a:lt1>
        <a:srgbClr val="FFFFFF"/>
      </a:lt1>
      <a:dk2>
        <a:srgbClr val="003467"/>
      </a:dk2>
      <a:lt2>
        <a:srgbClr val="F3F3F0"/>
      </a:lt2>
      <a:accent1>
        <a:srgbClr val="003467"/>
      </a:accent1>
      <a:accent2>
        <a:srgbClr val="3755FF"/>
      </a:accent2>
      <a:accent3>
        <a:srgbClr val="44AFFF"/>
      </a:accent3>
      <a:accent4>
        <a:srgbClr val="DCF0FA"/>
      </a:accent4>
      <a:accent5>
        <a:srgbClr val="CCCCCC"/>
      </a:accent5>
      <a:accent6>
        <a:srgbClr val="E6E6FF"/>
      </a:accent6>
      <a:hlink>
        <a:srgbClr val="0563C1"/>
      </a:hlink>
      <a:folHlink>
        <a:srgbClr val="954F72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owerpoint mal ny visuell identitet.pptx" id="{B24ACC4B-22ED-024E-B6AF-BE66B4C24084}" vid="{CB63BEB6-8F7B-2740-83D4-953927216A49}"/>
    </a:ext>
  </a:extLst>
</a:theme>
</file>

<file path=ppt/theme/theme4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93</TotalTime>
  <Words>992</Words>
  <Application>Microsoft Office PowerPoint</Application>
  <PresentationFormat>Widescreen</PresentationFormat>
  <Paragraphs>104</Paragraphs>
  <Slides>16</Slides>
  <Notes>6</Notes>
  <HiddenSlides>0</HiddenSlides>
  <MMClips>0</MMClips>
  <ScaleCrop>false</ScaleCrop>
  <HeadingPairs>
    <vt:vector size="8" baseType="variant">
      <vt:variant>
        <vt:lpstr>Brukte skrifter</vt:lpstr>
      </vt:variant>
      <vt:variant>
        <vt:i4>6</vt:i4>
      </vt:variant>
      <vt:variant>
        <vt:lpstr>Tema</vt:lpstr>
      </vt:variant>
      <vt:variant>
        <vt:i4>3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6</vt:i4>
      </vt:variant>
    </vt:vector>
  </HeadingPairs>
  <TitlesOfParts>
    <vt:vector size="26" baseType="lpstr">
      <vt:lpstr>Arial</vt:lpstr>
      <vt:lpstr>Arial Black</vt:lpstr>
      <vt:lpstr>Calibri</vt:lpstr>
      <vt:lpstr>Coop Grotesk</vt:lpstr>
      <vt:lpstr>Courier New</vt:lpstr>
      <vt:lpstr>Wingdings</vt:lpstr>
      <vt:lpstr>Coop prosjekt Ny 2017</vt:lpstr>
      <vt:lpstr>Coopmal Positiv</vt:lpstr>
      <vt:lpstr>1_Coopmal Positiv</vt:lpstr>
      <vt:lpstr>think-cell Slide</vt:lpstr>
      <vt:lpstr>KICK OFF PRODUKSJONSPLANER 2019/2020</vt:lpstr>
      <vt:lpstr>PowerPoint-presentasjon</vt:lpstr>
      <vt:lpstr>PowerPoint-presentasjon</vt:lpstr>
      <vt:lpstr>Da er det kritisk at varer er i posisjon! Kunden forventer å finne varer uavhengig av opprinnelse </vt:lpstr>
      <vt:lpstr>PowerPoint-presentasjon</vt:lpstr>
      <vt:lpstr>Samspillet fra jord til bord er nøkkelen til suksess</vt:lpstr>
      <vt:lpstr>PowerPoint-presentasjon</vt:lpstr>
      <vt:lpstr>Inn- og utfasing av varer og sortimentslegging i COOP</vt:lpstr>
      <vt:lpstr>Melde inn varer</vt:lpstr>
      <vt:lpstr>Sortimentslegging av varer</vt:lpstr>
      <vt:lpstr>Nytt innkjøpssystem</vt:lpstr>
      <vt:lpstr>Kampanje </vt:lpstr>
      <vt:lpstr>Utfasing av artikler</vt:lpstr>
      <vt:lpstr>Oppsummering – hvorfor er vi nødt til å ha informasjonen så tidlig?</vt:lpstr>
      <vt:lpstr>Agenda ukentlige statusmøter  </vt:lpstr>
      <vt:lpstr>PowerPoint-presentasj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ICK OFF PRODUKSJONSPLANER 2019/2020</dc:title>
  <dc:creator>Frostmann, May Christine Bæk</dc:creator>
  <cp:lastModifiedBy>Frostmann, May Christine Bæk</cp:lastModifiedBy>
  <cp:revision>30</cp:revision>
  <dcterms:created xsi:type="dcterms:W3CDTF">2021-05-04T08:21:20Z</dcterms:created>
  <dcterms:modified xsi:type="dcterms:W3CDTF">2021-05-07T09:44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95e7ebc-7083-4ef0-929e-21cd5eff7fc4_Enabled">
    <vt:lpwstr>True</vt:lpwstr>
  </property>
  <property fmtid="{D5CDD505-2E9C-101B-9397-08002B2CF9AE}" pid="3" name="MSIP_Label_095e7ebc-7083-4ef0-929e-21cd5eff7fc4_SiteId">
    <vt:lpwstr>ad12c024-e320-4b19-aa0b-b0c36c136e70</vt:lpwstr>
  </property>
  <property fmtid="{D5CDD505-2E9C-101B-9397-08002B2CF9AE}" pid="4" name="MSIP_Label_095e7ebc-7083-4ef0-929e-21cd5eff7fc4_Owner">
    <vt:lpwstr>christine.frostmann@coop.no</vt:lpwstr>
  </property>
  <property fmtid="{D5CDD505-2E9C-101B-9397-08002B2CF9AE}" pid="5" name="MSIP_Label_095e7ebc-7083-4ef0-929e-21cd5eff7fc4_SetDate">
    <vt:lpwstr>2021-05-04T08:24:16.7185084Z</vt:lpwstr>
  </property>
  <property fmtid="{D5CDD505-2E9C-101B-9397-08002B2CF9AE}" pid="6" name="MSIP_Label_095e7ebc-7083-4ef0-929e-21cd5eff7fc4_Name">
    <vt:lpwstr>Open</vt:lpwstr>
  </property>
  <property fmtid="{D5CDD505-2E9C-101B-9397-08002B2CF9AE}" pid="7" name="MSIP_Label_095e7ebc-7083-4ef0-929e-21cd5eff7fc4_Application">
    <vt:lpwstr>Microsoft Azure Information Protection</vt:lpwstr>
  </property>
  <property fmtid="{D5CDD505-2E9C-101B-9397-08002B2CF9AE}" pid="8" name="MSIP_Label_095e7ebc-7083-4ef0-929e-21cd5eff7fc4_ActionId">
    <vt:lpwstr>e40f2cd2-9688-4620-b3bc-e62ee8e99a01</vt:lpwstr>
  </property>
  <property fmtid="{D5CDD505-2E9C-101B-9397-08002B2CF9AE}" pid="9" name="MSIP_Label_095e7ebc-7083-4ef0-929e-21cd5eff7fc4_Extended_MSFT_Method">
    <vt:lpwstr>Automatic</vt:lpwstr>
  </property>
  <property fmtid="{D5CDD505-2E9C-101B-9397-08002B2CF9AE}" pid="10" name="Sensitivity">
    <vt:lpwstr>Open</vt:lpwstr>
  </property>
</Properties>
</file>